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625.xml" ContentType="application/vnd.openxmlformats-officedocument.presentationml.tags+xml"/>
  <Override PartName="/ppt/theme/theme3.xml" ContentType="application/vnd.openxmlformats-officedocument.theme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heme/theme4.xml" ContentType="application/vnd.openxmlformats-officedocument.theme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notesSlides/notesSlide1.xml" ContentType="application/vnd.openxmlformats-officedocument.presentationml.notesSlide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18" r:id="rId5"/>
  </p:sldMasterIdLst>
  <p:notesMasterIdLst>
    <p:notesMasterId r:id="rId23"/>
  </p:notesMasterIdLst>
  <p:handoutMasterIdLst>
    <p:handoutMasterId r:id="rId24"/>
  </p:handoutMasterIdLst>
  <p:sldIdLst>
    <p:sldId id="300" r:id="rId6"/>
    <p:sldId id="301" r:id="rId7"/>
    <p:sldId id="293" r:id="rId8"/>
    <p:sldId id="359" r:id="rId9"/>
    <p:sldId id="303" r:id="rId10"/>
    <p:sldId id="256" r:id="rId11"/>
    <p:sldId id="261" r:id="rId12"/>
    <p:sldId id="282" r:id="rId13"/>
    <p:sldId id="263" r:id="rId14"/>
    <p:sldId id="264" r:id="rId15"/>
    <p:sldId id="309" r:id="rId16"/>
    <p:sldId id="268" r:id="rId17"/>
    <p:sldId id="304" r:id="rId18"/>
    <p:sldId id="286" r:id="rId19"/>
    <p:sldId id="272" r:id="rId20"/>
    <p:sldId id="305" r:id="rId21"/>
    <p:sldId id="285" r:id="rId22"/>
  </p:sldIdLst>
  <p:sldSz cx="12192000" cy="6858000"/>
  <p:notesSz cx="6858000" cy="9144000"/>
  <p:embeddedFontLst>
    <p:embeddedFont>
      <p:font typeface="SKF Sans Office" pitchFamily="2" charset="0"/>
      <p:regular r:id="rId25"/>
      <p:bold r:id="rId26"/>
      <p:italic r:id="rId27"/>
      <p:boldItalic r:id="rId28"/>
    </p:embeddedFont>
    <p:embeddedFont>
      <p:font typeface="SKF Sans Office Medium" pitchFamily="2" charset="0"/>
      <p:regular r:id="rId29"/>
      <p:italic r:id="rId30"/>
    </p:embeddedFont>
  </p:embeddedFontLst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878" y="6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9" d="100"/>
          <a:sy n="119" d="100"/>
        </p:scale>
        <p:origin x="301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1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634.xml"/><Relationship Id="rId2" Type="http://schemas.openxmlformats.org/officeDocument/2006/relationships/tags" Target="../tags/tag633.xml"/><Relationship Id="rId1" Type="http://schemas.openxmlformats.org/officeDocument/2006/relationships/theme" Target="../theme/theme4.xml"/><Relationship Id="rId6" Type="http://schemas.openxmlformats.org/officeDocument/2006/relationships/tags" Target="../tags/tag637.xml"/><Relationship Id="rId5" Type="http://schemas.openxmlformats.org/officeDocument/2006/relationships/tags" Target="../tags/tag636.xml"/><Relationship Id="rId4" Type="http://schemas.openxmlformats.org/officeDocument/2006/relationships/tags" Target="../tags/tag63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3B8617F-C86B-E405-F12E-5C134B237DD5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3884613" y="255600"/>
            <a:ext cx="2971800" cy="198000"/>
          </a:xfrm>
          <a:prstGeom prst="rect">
            <a:avLst/>
          </a:prstGeom>
        </p:spPr>
        <p:txBody>
          <a:bodyPr vert="horz" lIns="180000" tIns="45720" rIns="180000" bIns="45720" rtlCol="0"/>
          <a:lstStyle>
            <a:lvl1pPr algn="l">
              <a:defRPr sz="1200"/>
            </a:lvl1pPr>
          </a:lstStyle>
          <a:p>
            <a:pPr algn="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D80244-4EED-1AED-480A-BCA287DAF25C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57600"/>
            <a:ext cx="2971800" cy="198000"/>
          </a:xfrm>
          <a:prstGeom prst="rect">
            <a:avLst/>
          </a:prstGeom>
        </p:spPr>
        <p:txBody>
          <a:bodyPr vert="horz" lIns="91440" tIns="45720" rIns="180000" bIns="45720" rtlCol="0"/>
          <a:lstStyle>
            <a:lvl1pPr algn="r">
              <a:defRPr sz="1200"/>
            </a:lvl1pPr>
          </a:lstStyle>
          <a:p>
            <a:fld id="{EBA3F5FE-B313-4CC5-9877-A3C5F2FA460D}" type="datetimeFigureOut">
              <a:rPr lang="en-GB" sz="800" smtClean="0"/>
              <a:t>19/09/2025</a:t>
            </a:fld>
            <a:endParaRPr lang="en-GB" sz="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30D8F8-A179-4259-2959-1E86837A343E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18000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570426-4D8B-8F32-F2B0-987CF91A8196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180000" bIns="45720" rtlCol="0" anchor="b"/>
          <a:lstStyle>
            <a:lvl1pPr algn="r">
              <a:defRPr sz="1200"/>
            </a:lvl1pPr>
          </a:lstStyle>
          <a:p>
            <a:fld id="{A9B4B3A3-9309-498B-B371-4C6825A40C15}" type="slidenum">
              <a:rPr lang="en-GB" sz="800" smtClean="0"/>
              <a:t>‹#›</a:t>
            </a:fld>
            <a:endParaRPr lang="en-GB" sz="800" dirty="0"/>
          </a:p>
        </p:txBody>
      </p:sp>
      <p:sp>
        <p:nvSpPr>
          <p:cNvPr id="7" name="!!Logo">
            <a:extLst>
              <a:ext uri="{FF2B5EF4-FFF2-40B4-BE49-F238E27FC236}">
                <a16:creationId xmlns:a16="http://schemas.microsoft.com/office/drawing/2014/main" id="{A3794F8B-D116-A333-4A51-B5BFD605C7A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8768" y="91900"/>
            <a:ext cx="542506" cy="127150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576360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32.xml"/><Relationship Id="rId3" Type="http://schemas.openxmlformats.org/officeDocument/2006/relationships/tags" Target="../tags/tag627.xml"/><Relationship Id="rId7" Type="http://schemas.openxmlformats.org/officeDocument/2006/relationships/tags" Target="../tags/tag631.xml"/><Relationship Id="rId2" Type="http://schemas.openxmlformats.org/officeDocument/2006/relationships/tags" Target="../tags/tag626.xml"/><Relationship Id="rId1" Type="http://schemas.openxmlformats.org/officeDocument/2006/relationships/theme" Target="../theme/theme3.xml"/><Relationship Id="rId6" Type="http://schemas.openxmlformats.org/officeDocument/2006/relationships/tags" Target="../tags/tag630.xml"/><Relationship Id="rId5" Type="http://schemas.openxmlformats.org/officeDocument/2006/relationships/tags" Target="../tags/tag629.xml"/><Relationship Id="rId4" Type="http://schemas.openxmlformats.org/officeDocument/2006/relationships/tags" Target="../tags/tag6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3886200" y="254033"/>
            <a:ext cx="2971800" cy="197117"/>
          </a:xfrm>
          <a:prstGeom prst="rect">
            <a:avLst/>
          </a:prstGeom>
        </p:spPr>
        <p:txBody>
          <a:bodyPr vert="horz" lIns="91440" tIns="45720" rIns="180000" bIns="45720" rtlCol="0"/>
          <a:lstStyle>
            <a:lvl1pPr algn="r">
              <a:defRPr lang="en-GB" dirty="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56916"/>
            <a:ext cx="2971800" cy="197117"/>
          </a:xfrm>
          <a:prstGeom prst="rect">
            <a:avLst/>
          </a:prstGeom>
        </p:spPr>
        <p:txBody>
          <a:bodyPr vert="horz" lIns="144000" tIns="45720" rIns="180000" bIns="45720" rtlCol="0"/>
          <a:lstStyle>
            <a:lvl1pPr algn="r">
              <a:defRPr sz="800"/>
            </a:lvl1pPr>
          </a:lstStyle>
          <a:p>
            <a:fld id="{153DBB42-01C3-4D3C-8D5A-C1C44836255C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1518752" y="684212"/>
            <a:ext cx="3820495" cy="214902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3131957"/>
            <a:ext cx="5486400" cy="51962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180000" tIns="45720" rIns="91440" bIns="45720" rtlCol="0" anchor="b"/>
          <a:lstStyle>
            <a:lvl1pPr algn="l">
              <a:defRPr lang="en-GB" dirty="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144000" tIns="45720" rIns="180000" bIns="45720" rtlCol="0" anchor="b"/>
          <a:lstStyle>
            <a:lvl1pPr algn="r">
              <a:defRPr sz="800"/>
            </a:lvl1pPr>
          </a:lstStyle>
          <a:p>
            <a:fld id="{2C5552FE-2C19-4684-9D2B-568549EFB4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!!Logo">
            <a:extLst>
              <a:ext uri="{FF2B5EF4-FFF2-40B4-BE49-F238E27FC236}">
                <a16:creationId xmlns:a16="http://schemas.microsoft.com/office/drawing/2014/main" id="{6958A3FA-35C4-A387-9DCC-FFA001FEC8C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8768" y="91900"/>
            <a:ext cx="542506" cy="127150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0556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519238" y="684213"/>
            <a:ext cx="3819525" cy="2149475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45EE5-9B09-464C-8505-037C4E3FD340}" type="slidenum">
              <a:rPr kumimoji="0" lang="sv-S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532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4" Type="http://schemas.openxmlformats.org/officeDocument/2006/relationships/tags" Target="../tags/tag10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9.xml"/><Relationship Id="rId9" Type="http://schemas.openxmlformats.org/officeDocument/2006/relationships/tags" Target="../tags/tag11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5" Type="http://schemas.openxmlformats.org/officeDocument/2006/relationships/tags" Target="../tags/tag129.xml"/><Relationship Id="rId4" Type="http://schemas.openxmlformats.org/officeDocument/2006/relationships/tags" Target="../tags/tag128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" Type="http://schemas.openxmlformats.org/officeDocument/2006/relationships/tags" Target="../tags/tag141.xml"/><Relationship Id="rId16" Type="http://schemas.openxmlformats.org/officeDocument/2006/relationships/tags" Target="../tags/tag155.xml"/><Relationship Id="rId20" Type="http://schemas.openxmlformats.org/officeDocument/2006/relationships/slideMaster" Target="../slideMasters/slideMaster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5" Type="http://schemas.openxmlformats.org/officeDocument/2006/relationships/tags" Target="../tags/tag144.xml"/><Relationship Id="rId15" Type="http://schemas.openxmlformats.org/officeDocument/2006/relationships/tags" Target="../tags/tag154.xml"/><Relationship Id="rId10" Type="http://schemas.openxmlformats.org/officeDocument/2006/relationships/tags" Target="../tags/tag149.xml"/><Relationship Id="rId19" Type="http://schemas.openxmlformats.org/officeDocument/2006/relationships/tags" Target="../tags/tag158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tags" Target="../tags/tag15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13" Type="http://schemas.openxmlformats.org/officeDocument/2006/relationships/tags" Target="../tags/tag171.xml"/><Relationship Id="rId18" Type="http://schemas.openxmlformats.org/officeDocument/2006/relationships/tags" Target="../tags/tag17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tags" Target="../tags/tag170.xml"/><Relationship Id="rId17" Type="http://schemas.openxmlformats.org/officeDocument/2006/relationships/tags" Target="../tags/tag175.xml"/><Relationship Id="rId2" Type="http://schemas.openxmlformats.org/officeDocument/2006/relationships/tags" Target="../tags/tag160.xml"/><Relationship Id="rId16" Type="http://schemas.openxmlformats.org/officeDocument/2006/relationships/tags" Target="../tags/tag174.xml"/><Relationship Id="rId20" Type="http://schemas.openxmlformats.org/officeDocument/2006/relationships/slideMaster" Target="../slideMasters/slideMaster1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5" Type="http://schemas.openxmlformats.org/officeDocument/2006/relationships/tags" Target="../tags/tag163.xml"/><Relationship Id="rId15" Type="http://schemas.openxmlformats.org/officeDocument/2006/relationships/tags" Target="../tags/tag173.xml"/><Relationship Id="rId10" Type="http://schemas.openxmlformats.org/officeDocument/2006/relationships/tags" Target="../tags/tag168.xml"/><Relationship Id="rId19" Type="http://schemas.openxmlformats.org/officeDocument/2006/relationships/tags" Target="../tags/tag177.xml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tags" Target="../tags/tag17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tags" Target="../tags/tag189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tags" Target="../tags/tag188.xml"/><Relationship Id="rId5" Type="http://schemas.openxmlformats.org/officeDocument/2006/relationships/tags" Target="../tags/tag182.xml"/><Relationship Id="rId10" Type="http://schemas.openxmlformats.org/officeDocument/2006/relationships/tags" Target="../tags/tag187.xml"/><Relationship Id="rId4" Type="http://schemas.openxmlformats.org/officeDocument/2006/relationships/tags" Target="../tags/tag181.xml"/><Relationship Id="rId9" Type="http://schemas.openxmlformats.org/officeDocument/2006/relationships/tags" Target="../tags/tag186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5" Type="http://schemas.openxmlformats.org/officeDocument/2006/relationships/tags" Target="../tags/tag194.xml"/><Relationship Id="rId10" Type="http://schemas.openxmlformats.org/officeDocument/2006/relationships/tags" Target="../tags/tag199.xml"/><Relationship Id="rId4" Type="http://schemas.openxmlformats.org/officeDocument/2006/relationships/tags" Target="../tags/tag193.xml"/><Relationship Id="rId9" Type="http://schemas.openxmlformats.org/officeDocument/2006/relationships/tags" Target="../tags/tag19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tags" Target="../tags/tag214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tags" Target="../tags/tag213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11" Type="http://schemas.openxmlformats.org/officeDocument/2006/relationships/tags" Target="../tags/tag212.xml"/><Relationship Id="rId5" Type="http://schemas.openxmlformats.org/officeDocument/2006/relationships/tags" Target="../tags/tag206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11.xml"/><Relationship Id="rId4" Type="http://schemas.openxmlformats.org/officeDocument/2006/relationships/tags" Target="../tags/tag205.xml"/><Relationship Id="rId9" Type="http://schemas.openxmlformats.org/officeDocument/2006/relationships/tags" Target="../tags/tag210.xml"/><Relationship Id="rId14" Type="http://schemas.openxmlformats.org/officeDocument/2006/relationships/tags" Target="../tags/tag21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10" Type="http://schemas.openxmlformats.org/officeDocument/2006/relationships/tags" Target="../tags/tag225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3" Type="http://schemas.openxmlformats.org/officeDocument/2006/relationships/tags" Target="../tags/tag235.xml"/><Relationship Id="rId21" Type="http://schemas.openxmlformats.org/officeDocument/2006/relationships/tags" Target="../tags/tag253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" Type="http://schemas.openxmlformats.org/officeDocument/2006/relationships/tags" Target="../tags/tag23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237.xml"/><Relationship Id="rId15" Type="http://schemas.openxmlformats.org/officeDocument/2006/relationships/tags" Target="../tags/tag247.xml"/><Relationship Id="rId23" Type="http://schemas.openxmlformats.org/officeDocument/2006/relationships/tags" Target="../tags/tag255.xml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tags" Target="../tags/tag25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13" Type="http://schemas.openxmlformats.org/officeDocument/2006/relationships/tags" Target="../tags/tag268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12" Type="http://schemas.openxmlformats.org/officeDocument/2006/relationships/tags" Target="../tags/tag267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11" Type="http://schemas.openxmlformats.org/officeDocument/2006/relationships/tags" Target="../tags/tag266.xml"/><Relationship Id="rId5" Type="http://schemas.openxmlformats.org/officeDocument/2006/relationships/tags" Target="../tags/tag2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65.xml"/><Relationship Id="rId4" Type="http://schemas.openxmlformats.org/officeDocument/2006/relationships/tags" Target="../tags/tag259.xml"/><Relationship Id="rId9" Type="http://schemas.openxmlformats.org/officeDocument/2006/relationships/tags" Target="../tags/tag264.xml"/><Relationship Id="rId14" Type="http://schemas.openxmlformats.org/officeDocument/2006/relationships/tags" Target="../tags/tag26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77.xml"/><Relationship Id="rId13" Type="http://schemas.openxmlformats.org/officeDocument/2006/relationships/tags" Target="../tags/tag282.xml"/><Relationship Id="rId3" Type="http://schemas.openxmlformats.org/officeDocument/2006/relationships/tags" Target="../tags/tag272.xml"/><Relationship Id="rId7" Type="http://schemas.openxmlformats.org/officeDocument/2006/relationships/tags" Target="../tags/tag276.xml"/><Relationship Id="rId12" Type="http://schemas.openxmlformats.org/officeDocument/2006/relationships/tags" Target="../tags/tag281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11" Type="http://schemas.openxmlformats.org/officeDocument/2006/relationships/tags" Target="../tags/tag280.xml"/><Relationship Id="rId5" Type="http://schemas.openxmlformats.org/officeDocument/2006/relationships/tags" Target="../tags/tag27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79.xml"/><Relationship Id="rId4" Type="http://schemas.openxmlformats.org/officeDocument/2006/relationships/tags" Target="../tags/tag273.xml"/><Relationship Id="rId9" Type="http://schemas.openxmlformats.org/officeDocument/2006/relationships/tags" Target="../tags/tag278.xml"/><Relationship Id="rId14" Type="http://schemas.openxmlformats.org/officeDocument/2006/relationships/tags" Target="../tags/tag28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tags" Target="../tags/tag296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tags" Target="../tags/tag295.xml"/><Relationship Id="rId17" Type="http://schemas.openxmlformats.org/officeDocument/2006/relationships/tags" Target="../tags/tag300.xml"/><Relationship Id="rId2" Type="http://schemas.openxmlformats.org/officeDocument/2006/relationships/tags" Target="../tags/tag285.xml"/><Relationship Id="rId16" Type="http://schemas.openxmlformats.org/officeDocument/2006/relationships/tags" Target="../tags/tag299.xml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tags" Target="../tags/tag294.xml"/><Relationship Id="rId5" Type="http://schemas.openxmlformats.org/officeDocument/2006/relationships/tags" Target="../tags/tag288.xml"/><Relationship Id="rId15" Type="http://schemas.openxmlformats.org/officeDocument/2006/relationships/tags" Target="../tags/tag298.xml"/><Relationship Id="rId10" Type="http://schemas.openxmlformats.org/officeDocument/2006/relationships/tags" Target="../tags/tag293.xml"/><Relationship Id="rId4" Type="http://schemas.openxmlformats.org/officeDocument/2006/relationships/tags" Target="../tags/tag287.xml"/><Relationship Id="rId9" Type="http://schemas.openxmlformats.org/officeDocument/2006/relationships/tags" Target="../tags/tag292.xml"/><Relationship Id="rId14" Type="http://schemas.openxmlformats.org/officeDocument/2006/relationships/tags" Target="../tags/tag297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308.xml"/><Relationship Id="rId13" Type="http://schemas.openxmlformats.org/officeDocument/2006/relationships/tags" Target="../tags/tag313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303.xml"/><Relationship Id="rId7" Type="http://schemas.openxmlformats.org/officeDocument/2006/relationships/tags" Target="../tags/tag307.xml"/><Relationship Id="rId12" Type="http://schemas.openxmlformats.org/officeDocument/2006/relationships/tags" Target="../tags/tag312.xml"/><Relationship Id="rId17" Type="http://schemas.openxmlformats.org/officeDocument/2006/relationships/tags" Target="../tags/tag317.xml"/><Relationship Id="rId2" Type="http://schemas.openxmlformats.org/officeDocument/2006/relationships/tags" Target="../tags/tag302.xml"/><Relationship Id="rId16" Type="http://schemas.openxmlformats.org/officeDocument/2006/relationships/tags" Target="../tags/tag316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11" Type="http://schemas.openxmlformats.org/officeDocument/2006/relationships/tags" Target="../tags/tag311.xml"/><Relationship Id="rId5" Type="http://schemas.openxmlformats.org/officeDocument/2006/relationships/tags" Target="../tags/tag305.xml"/><Relationship Id="rId15" Type="http://schemas.openxmlformats.org/officeDocument/2006/relationships/tags" Target="../tags/tag315.xml"/><Relationship Id="rId10" Type="http://schemas.openxmlformats.org/officeDocument/2006/relationships/tags" Target="../tags/tag310.xml"/><Relationship Id="rId4" Type="http://schemas.openxmlformats.org/officeDocument/2006/relationships/tags" Target="../tags/tag304.xml"/><Relationship Id="rId9" Type="http://schemas.openxmlformats.org/officeDocument/2006/relationships/tags" Target="../tags/tag309.xml"/><Relationship Id="rId14" Type="http://schemas.openxmlformats.org/officeDocument/2006/relationships/tags" Target="../tags/tag31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tags" Target="../tags/tag330.xml"/><Relationship Id="rId18" Type="http://schemas.openxmlformats.org/officeDocument/2006/relationships/tags" Target="../tags/tag335.xml"/><Relationship Id="rId3" Type="http://schemas.openxmlformats.org/officeDocument/2006/relationships/tags" Target="../tags/tag320.xml"/><Relationship Id="rId21" Type="http://schemas.openxmlformats.org/officeDocument/2006/relationships/tags" Target="../tags/tag338.xml"/><Relationship Id="rId7" Type="http://schemas.openxmlformats.org/officeDocument/2006/relationships/tags" Target="../tags/tag324.xml"/><Relationship Id="rId12" Type="http://schemas.openxmlformats.org/officeDocument/2006/relationships/tags" Target="../tags/tag329.xml"/><Relationship Id="rId17" Type="http://schemas.openxmlformats.org/officeDocument/2006/relationships/tags" Target="../tags/tag334.xml"/><Relationship Id="rId2" Type="http://schemas.openxmlformats.org/officeDocument/2006/relationships/tags" Target="../tags/tag319.xml"/><Relationship Id="rId16" Type="http://schemas.openxmlformats.org/officeDocument/2006/relationships/tags" Target="../tags/tag333.xml"/><Relationship Id="rId20" Type="http://schemas.openxmlformats.org/officeDocument/2006/relationships/tags" Target="../tags/tag337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11" Type="http://schemas.openxmlformats.org/officeDocument/2006/relationships/tags" Target="../tags/tag328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22.xml"/><Relationship Id="rId15" Type="http://schemas.openxmlformats.org/officeDocument/2006/relationships/tags" Target="../tags/tag332.xml"/><Relationship Id="rId23" Type="http://schemas.openxmlformats.org/officeDocument/2006/relationships/tags" Target="../tags/tag340.xml"/><Relationship Id="rId10" Type="http://schemas.openxmlformats.org/officeDocument/2006/relationships/tags" Target="../tags/tag327.xml"/><Relationship Id="rId19" Type="http://schemas.openxmlformats.org/officeDocument/2006/relationships/tags" Target="../tags/tag336.xml"/><Relationship Id="rId4" Type="http://schemas.openxmlformats.org/officeDocument/2006/relationships/tags" Target="../tags/tag321.xml"/><Relationship Id="rId9" Type="http://schemas.openxmlformats.org/officeDocument/2006/relationships/tags" Target="../tags/tag326.xml"/><Relationship Id="rId14" Type="http://schemas.openxmlformats.org/officeDocument/2006/relationships/tags" Target="../tags/tag331.xml"/><Relationship Id="rId22" Type="http://schemas.openxmlformats.org/officeDocument/2006/relationships/tags" Target="../tags/tag33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348.xml"/><Relationship Id="rId13" Type="http://schemas.openxmlformats.org/officeDocument/2006/relationships/tags" Target="../tags/tag353.xml"/><Relationship Id="rId18" Type="http://schemas.openxmlformats.org/officeDocument/2006/relationships/tags" Target="../tags/tag358.xml"/><Relationship Id="rId3" Type="http://schemas.openxmlformats.org/officeDocument/2006/relationships/tags" Target="../tags/tag343.xml"/><Relationship Id="rId21" Type="http://schemas.openxmlformats.org/officeDocument/2006/relationships/tags" Target="../tags/tag361.xml"/><Relationship Id="rId7" Type="http://schemas.openxmlformats.org/officeDocument/2006/relationships/tags" Target="../tags/tag347.xml"/><Relationship Id="rId12" Type="http://schemas.openxmlformats.org/officeDocument/2006/relationships/tags" Target="../tags/tag352.xml"/><Relationship Id="rId17" Type="http://schemas.openxmlformats.org/officeDocument/2006/relationships/tags" Target="../tags/tag357.xml"/><Relationship Id="rId2" Type="http://schemas.openxmlformats.org/officeDocument/2006/relationships/tags" Target="../tags/tag342.xml"/><Relationship Id="rId16" Type="http://schemas.openxmlformats.org/officeDocument/2006/relationships/tags" Target="../tags/tag356.xml"/><Relationship Id="rId20" Type="http://schemas.openxmlformats.org/officeDocument/2006/relationships/tags" Target="../tags/tag360.xml"/><Relationship Id="rId1" Type="http://schemas.openxmlformats.org/officeDocument/2006/relationships/tags" Target="../tags/tag341.xml"/><Relationship Id="rId6" Type="http://schemas.openxmlformats.org/officeDocument/2006/relationships/tags" Target="../tags/tag346.xml"/><Relationship Id="rId11" Type="http://schemas.openxmlformats.org/officeDocument/2006/relationships/tags" Target="../tags/tag351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45.xml"/><Relationship Id="rId15" Type="http://schemas.openxmlformats.org/officeDocument/2006/relationships/tags" Target="../tags/tag355.xml"/><Relationship Id="rId23" Type="http://schemas.openxmlformats.org/officeDocument/2006/relationships/tags" Target="../tags/tag363.xml"/><Relationship Id="rId10" Type="http://schemas.openxmlformats.org/officeDocument/2006/relationships/tags" Target="../tags/tag350.xml"/><Relationship Id="rId19" Type="http://schemas.openxmlformats.org/officeDocument/2006/relationships/tags" Target="../tags/tag359.xml"/><Relationship Id="rId4" Type="http://schemas.openxmlformats.org/officeDocument/2006/relationships/tags" Target="../tags/tag344.xml"/><Relationship Id="rId9" Type="http://schemas.openxmlformats.org/officeDocument/2006/relationships/tags" Target="../tags/tag349.xml"/><Relationship Id="rId14" Type="http://schemas.openxmlformats.org/officeDocument/2006/relationships/tags" Target="../tags/tag354.xml"/><Relationship Id="rId22" Type="http://schemas.openxmlformats.org/officeDocument/2006/relationships/tags" Target="../tags/tag36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66.xml"/><Relationship Id="rId7" Type="http://schemas.openxmlformats.org/officeDocument/2006/relationships/tags" Target="../tags/tag370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tags" Target="../tags/tag369.xml"/><Relationship Id="rId5" Type="http://schemas.openxmlformats.org/officeDocument/2006/relationships/tags" Target="../tags/tag368.xml"/><Relationship Id="rId4" Type="http://schemas.openxmlformats.org/officeDocument/2006/relationships/tags" Target="../tags/tag367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78.xml"/><Relationship Id="rId3" Type="http://schemas.openxmlformats.org/officeDocument/2006/relationships/tags" Target="../tags/tag373.xml"/><Relationship Id="rId7" Type="http://schemas.openxmlformats.org/officeDocument/2006/relationships/tags" Target="../tags/tag377.xml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6" Type="http://schemas.openxmlformats.org/officeDocument/2006/relationships/tags" Target="../tags/tag376.xml"/><Relationship Id="rId5" Type="http://schemas.openxmlformats.org/officeDocument/2006/relationships/tags" Target="../tags/tag37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74.xml"/><Relationship Id="rId9" Type="http://schemas.openxmlformats.org/officeDocument/2006/relationships/tags" Target="../tags/tag379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82.xml"/><Relationship Id="rId7" Type="http://schemas.openxmlformats.org/officeDocument/2006/relationships/tags" Target="../tags/tag386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5" Type="http://schemas.openxmlformats.org/officeDocument/2006/relationships/tags" Target="../tags/tag384.xml"/><Relationship Id="rId4" Type="http://schemas.openxmlformats.org/officeDocument/2006/relationships/tags" Target="../tags/tag38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94.xml"/><Relationship Id="rId3" Type="http://schemas.openxmlformats.org/officeDocument/2006/relationships/tags" Target="../tags/tag389.xml"/><Relationship Id="rId7" Type="http://schemas.openxmlformats.org/officeDocument/2006/relationships/tags" Target="../tags/tag393.xml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6" Type="http://schemas.openxmlformats.org/officeDocument/2006/relationships/tags" Target="../tags/tag392.xml"/><Relationship Id="rId5" Type="http://schemas.openxmlformats.org/officeDocument/2006/relationships/tags" Target="../tags/tag39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90.xml"/><Relationship Id="rId9" Type="http://schemas.openxmlformats.org/officeDocument/2006/relationships/tags" Target="../tags/tag395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tags" Target="../tags/tag401.xml"/><Relationship Id="rId5" Type="http://schemas.openxmlformats.org/officeDocument/2006/relationships/tags" Target="../tags/tag400.xml"/><Relationship Id="rId4" Type="http://schemas.openxmlformats.org/officeDocument/2006/relationships/tags" Target="../tags/tag399.xml"/><Relationship Id="rId9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0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tags" Target="../tags/tag409.xml"/><Relationship Id="rId5" Type="http://schemas.openxmlformats.org/officeDocument/2006/relationships/tags" Target="../tags/tag408.xml"/><Relationship Id="rId4" Type="http://schemas.openxmlformats.org/officeDocument/2006/relationships/tags" Target="../tags/tag40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tags" Target="../tags/tag415.xml"/><Relationship Id="rId5" Type="http://schemas.openxmlformats.org/officeDocument/2006/relationships/tags" Target="../tags/tag414.xml"/><Relationship Id="rId4" Type="http://schemas.openxmlformats.org/officeDocument/2006/relationships/tags" Target="../tags/tag41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423.xml"/><Relationship Id="rId3" Type="http://schemas.openxmlformats.org/officeDocument/2006/relationships/tags" Target="../tags/tag418.xml"/><Relationship Id="rId7" Type="http://schemas.openxmlformats.org/officeDocument/2006/relationships/tags" Target="../tags/tag422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tags" Target="../tags/tag421.xml"/><Relationship Id="rId5" Type="http://schemas.openxmlformats.org/officeDocument/2006/relationships/tags" Target="../tags/tag420.xml"/><Relationship Id="rId10" Type="http://schemas.openxmlformats.org/officeDocument/2006/relationships/image" Target="../media/image1.png"/><Relationship Id="rId4" Type="http://schemas.openxmlformats.org/officeDocument/2006/relationships/tags" Target="../tags/tag419.xml"/><Relationship Id="rId9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3" Type="http://schemas.openxmlformats.org/officeDocument/2006/relationships/tags" Target="../tags/tag426.xml"/><Relationship Id="rId7" Type="http://schemas.openxmlformats.org/officeDocument/2006/relationships/tags" Target="../tags/tag430.xml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tags" Target="../tags/tag429.xml"/><Relationship Id="rId5" Type="http://schemas.openxmlformats.org/officeDocument/2006/relationships/tags" Target="../tags/tag428.xml"/><Relationship Id="rId10" Type="http://schemas.openxmlformats.org/officeDocument/2006/relationships/image" Target="../media/image2.png"/><Relationship Id="rId4" Type="http://schemas.openxmlformats.org/officeDocument/2006/relationships/tags" Target="../tags/tag427.xml"/><Relationship Id="rId9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5" Type="http://schemas.openxmlformats.org/officeDocument/2006/relationships/tags" Target="../tags/tag436.xml"/><Relationship Id="rId10" Type="http://schemas.openxmlformats.org/officeDocument/2006/relationships/image" Target="../media/image3.png"/><Relationship Id="rId4" Type="http://schemas.openxmlformats.org/officeDocument/2006/relationships/tags" Target="../tags/tag435.xml"/><Relationship Id="rId9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447.xml"/><Relationship Id="rId3" Type="http://schemas.openxmlformats.org/officeDocument/2006/relationships/tags" Target="../tags/tag442.xml"/><Relationship Id="rId7" Type="http://schemas.openxmlformats.org/officeDocument/2006/relationships/tags" Target="../tags/tag44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41.xml"/><Relationship Id="rId1" Type="http://schemas.openxmlformats.org/officeDocument/2006/relationships/tags" Target="../tags/tag440.xml"/><Relationship Id="rId6" Type="http://schemas.openxmlformats.org/officeDocument/2006/relationships/tags" Target="../tags/tag445.xml"/><Relationship Id="rId11" Type="http://schemas.openxmlformats.org/officeDocument/2006/relationships/tags" Target="../tags/tag450.xml"/><Relationship Id="rId5" Type="http://schemas.openxmlformats.org/officeDocument/2006/relationships/tags" Target="../tags/tag444.xml"/><Relationship Id="rId10" Type="http://schemas.openxmlformats.org/officeDocument/2006/relationships/tags" Target="../tags/tag449.xml"/><Relationship Id="rId4" Type="http://schemas.openxmlformats.org/officeDocument/2006/relationships/tags" Target="../tags/tag443.xml"/><Relationship Id="rId9" Type="http://schemas.openxmlformats.org/officeDocument/2006/relationships/tags" Target="../tags/tag448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458.xml"/><Relationship Id="rId13" Type="http://schemas.openxmlformats.org/officeDocument/2006/relationships/tags" Target="../tags/tag463.xml"/><Relationship Id="rId3" Type="http://schemas.openxmlformats.org/officeDocument/2006/relationships/tags" Target="../tags/tag453.xml"/><Relationship Id="rId7" Type="http://schemas.openxmlformats.org/officeDocument/2006/relationships/tags" Target="../tags/tag457.xml"/><Relationship Id="rId12" Type="http://schemas.openxmlformats.org/officeDocument/2006/relationships/tags" Target="../tags/tag462.xml"/><Relationship Id="rId2" Type="http://schemas.openxmlformats.org/officeDocument/2006/relationships/tags" Target="../tags/tag452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451.xml"/><Relationship Id="rId6" Type="http://schemas.openxmlformats.org/officeDocument/2006/relationships/tags" Target="../tags/tag456.xml"/><Relationship Id="rId11" Type="http://schemas.openxmlformats.org/officeDocument/2006/relationships/tags" Target="../tags/tag461.xml"/><Relationship Id="rId5" Type="http://schemas.openxmlformats.org/officeDocument/2006/relationships/tags" Target="../tags/tag455.xml"/><Relationship Id="rId15" Type="http://schemas.openxmlformats.org/officeDocument/2006/relationships/tags" Target="../tags/tag465.xml"/><Relationship Id="rId10" Type="http://schemas.openxmlformats.org/officeDocument/2006/relationships/tags" Target="../tags/tag460.xml"/><Relationship Id="rId4" Type="http://schemas.openxmlformats.org/officeDocument/2006/relationships/tags" Target="../tags/tag454.xml"/><Relationship Id="rId9" Type="http://schemas.openxmlformats.org/officeDocument/2006/relationships/tags" Target="../tags/tag459.xml"/><Relationship Id="rId14" Type="http://schemas.openxmlformats.org/officeDocument/2006/relationships/tags" Target="../tags/tag464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473.xml"/><Relationship Id="rId13" Type="http://schemas.openxmlformats.org/officeDocument/2006/relationships/image" Target="../media/image4.png"/><Relationship Id="rId18" Type="http://schemas.openxmlformats.org/officeDocument/2006/relationships/image" Target="../media/image9.svg"/><Relationship Id="rId3" Type="http://schemas.openxmlformats.org/officeDocument/2006/relationships/tags" Target="../tags/tag468.xml"/><Relationship Id="rId7" Type="http://schemas.openxmlformats.org/officeDocument/2006/relationships/tags" Target="../tags/tag472.xml"/><Relationship Id="rId12" Type="http://schemas.openxmlformats.org/officeDocument/2006/relationships/slideMaster" Target="../slideMasters/slideMaster1.xml"/><Relationship Id="rId17" Type="http://schemas.openxmlformats.org/officeDocument/2006/relationships/image" Target="../media/image8.png"/><Relationship Id="rId2" Type="http://schemas.openxmlformats.org/officeDocument/2006/relationships/tags" Target="../tags/tag467.xml"/><Relationship Id="rId16" Type="http://schemas.openxmlformats.org/officeDocument/2006/relationships/image" Target="../media/image7.svg"/><Relationship Id="rId1" Type="http://schemas.openxmlformats.org/officeDocument/2006/relationships/tags" Target="../tags/tag466.xml"/><Relationship Id="rId6" Type="http://schemas.openxmlformats.org/officeDocument/2006/relationships/tags" Target="../tags/tag471.xml"/><Relationship Id="rId11" Type="http://schemas.openxmlformats.org/officeDocument/2006/relationships/tags" Target="../tags/tag476.xml"/><Relationship Id="rId5" Type="http://schemas.openxmlformats.org/officeDocument/2006/relationships/tags" Target="../tags/tag470.xml"/><Relationship Id="rId15" Type="http://schemas.openxmlformats.org/officeDocument/2006/relationships/image" Target="../media/image6.png"/><Relationship Id="rId10" Type="http://schemas.openxmlformats.org/officeDocument/2006/relationships/tags" Target="../tags/tag475.xml"/><Relationship Id="rId4" Type="http://schemas.openxmlformats.org/officeDocument/2006/relationships/tags" Target="../tags/tag469.xml"/><Relationship Id="rId9" Type="http://schemas.openxmlformats.org/officeDocument/2006/relationships/tags" Target="../tags/tag474.xml"/><Relationship Id="rId14" Type="http://schemas.openxmlformats.org/officeDocument/2006/relationships/image" Target="../media/image5.sv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84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8.png"/><Relationship Id="rId3" Type="http://schemas.openxmlformats.org/officeDocument/2006/relationships/tags" Target="../tags/tag479.xml"/><Relationship Id="rId7" Type="http://schemas.openxmlformats.org/officeDocument/2006/relationships/tags" Target="../tags/tag483.xml"/><Relationship Id="rId12" Type="http://schemas.openxmlformats.org/officeDocument/2006/relationships/tags" Target="../tags/tag488.xml"/><Relationship Id="rId17" Type="http://schemas.openxmlformats.org/officeDocument/2006/relationships/image" Target="../media/image7.svg"/><Relationship Id="rId2" Type="http://schemas.openxmlformats.org/officeDocument/2006/relationships/tags" Target="../tags/tag478.xml"/><Relationship Id="rId16" Type="http://schemas.openxmlformats.org/officeDocument/2006/relationships/image" Target="../media/image6.png"/><Relationship Id="rId1" Type="http://schemas.openxmlformats.org/officeDocument/2006/relationships/tags" Target="../tags/tag477.xml"/><Relationship Id="rId6" Type="http://schemas.openxmlformats.org/officeDocument/2006/relationships/tags" Target="../tags/tag482.xml"/><Relationship Id="rId11" Type="http://schemas.openxmlformats.org/officeDocument/2006/relationships/tags" Target="../tags/tag487.xml"/><Relationship Id="rId5" Type="http://schemas.openxmlformats.org/officeDocument/2006/relationships/tags" Target="../tags/tag481.xml"/><Relationship Id="rId15" Type="http://schemas.openxmlformats.org/officeDocument/2006/relationships/image" Target="../media/image5.svg"/><Relationship Id="rId10" Type="http://schemas.openxmlformats.org/officeDocument/2006/relationships/tags" Target="../tags/tag486.xml"/><Relationship Id="rId19" Type="http://schemas.openxmlformats.org/officeDocument/2006/relationships/image" Target="../media/image9.svg"/><Relationship Id="rId4" Type="http://schemas.openxmlformats.org/officeDocument/2006/relationships/tags" Target="../tags/tag480.xml"/><Relationship Id="rId9" Type="http://schemas.openxmlformats.org/officeDocument/2006/relationships/tags" Target="../tags/tag485.xml"/><Relationship Id="rId1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91.xml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93.xml"/><Relationship Id="rId4" Type="http://schemas.openxmlformats.org/officeDocument/2006/relationships/tags" Target="../tags/tag49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96.xml"/><Relationship Id="rId2" Type="http://schemas.openxmlformats.org/officeDocument/2006/relationships/tags" Target="../tags/tag495.xml"/><Relationship Id="rId1" Type="http://schemas.openxmlformats.org/officeDocument/2006/relationships/tags" Target="../tags/tag49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98.xml"/><Relationship Id="rId4" Type="http://schemas.openxmlformats.org/officeDocument/2006/relationships/tags" Target="../tags/tag49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506.xml"/><Relationship Id="rId3" Type="http://schemas.openxmlformats.org/officeDocument/2006/relationships/tags" Target="../tags/tag501.xml"/><Relationship Id="rId7" Type="http://schemas.openxmlformats.org/officeDocument/2006/relationships/tags" Target="../tags/tag505.xml"/><Relationship Id="rId2" Type="http://schemas.openxmlformats.org/officeDocument/2006/relationships/tags" Target="../tags/tag500.xml"/><Relationship Id="rId1" Type="http://schemas.openxmlformats.org/officeDocument/2006/relationships/tags" Target="../tags/tag499.xml"/><Relationship Id="rId6" Type="http://schemas.openxmlformats.org/officeDocument/2006/relationships/tags" Target="../tags/tag504.xml"/><Relationship Id="rId5" Type="http://schemas.openxmlformats.org/officeDocument/2006/relationships/tags" Target="../tags/tag503.xml"/><Relationship Id="rId4" Type="http://schemas.openxmlformats.org/officeDocument/2006/relationships/tags" Target="../tags/tag502.xml"/><Relationship Id="rId9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514.xml"/><Relationship Id="rId3" Type="http://schemas.openxmlformats.org/officeDocument/2006/relationships/tags" Target="../tags/tag509.xml"/><Relationship Id="rId7" Type="http://schemas.openxmlformats.org/officeDocument/2006/relationships/tags" Target="../tags/tag513.xml"/><Relationship Id="rId2" Type="http://schemas.openxmlformats.org/officeDocument/2006/relationships/tags" Target="../tags/tag508.xml"/><Relationship Id="rId1" Type="http://schemas.openxmlformats.org/officeDocument/2006/relationships/tags" Target="../tags/tag507.xml"/><Relationship Id="rId6" Type="http://schemas.openxmlformats.org/officeDocument/2006/relationships/tags" Target="../tags/tag512.xml"/><Relationship Id="rId5" Type="http://schemas.openxmlformats.org/officeDocument/2006/relationships/tags" Target="../tags/tag51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10.xml"/><Relationship Id="rId9" Type="http://schemas.openxmlformats.org/officeDocument/2006/relationships/tags" Target="../tags/tag515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2" Type="http://schemas.openxmlformats.org/officeDocument/2006/relationships/tags" Target="../tags/tag517.xml"/><Relationship Id="rId1" Type="http://schemas.openxmlformats.org/officeDocument/2006/relationships/tags" Target="../tags/tag516.xml"/><Relationship Id="rId6" Type="http://schemas.openxmlformats.org/officeDocument/2006/relationships/tags" Target="../tags/tag521.xml"/><Relationship Id="rId5" Type="http://schemas.openxmlformats.org/officeDocument/2006/relationships/tags" Target="../tags/tag520.xml"/><Relationship Id="rId4" Type="http://schemas.openxmlformats.org/officeDocument/2006/relationships/tags" Target="../tags/tag519.xml"/><Relationship Id="rId9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531.xml"/><Relationship Id="rId3" Type="http://schemas.openxmlformats.org/officeDocument/2006/relationships/tags" Target="../tags/tag526.xml"/><Relationship Id="rId7" Type="http://schemas.openxmlformats.org/officeDocument/2006/relationships/tags" Target="../tags/tag530.xml"/><Relationship Id="rId2" Type="http://schemas.openxmlformats.org/officeDocument/2006/relationships/tags" Target="../tags/tag525.xml"/><Relationship Id="rId1" Type="http://schemas.openxmlformats.org/officeDocument/2006/relationships/tags" Target="../tags/tag524.xml"/><Relationship Id="rId6" Type="http://schemas.openxmlformats.org/officeDocument/2006/relationships/tags" Target="../tags/tag529.xml"/><Relationship Id="rId5" Type="http://schemas.openxmlformats.org/officeDocument/2006/relationships/tags" Target="../tags/tag528.xml"/><Relationship Id="rId4" Type="http://schemas.openxmlformats.org/officeDocument/2006/relationships/tags" Target="../tags/tag527.xml"/><Relationship Id="rId9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539.xml"/><Relationship Id="rId3" Type="http://schemas.openxmlformats.org/officeDocument/2006/relationships/tags" Target="../tags/tag534.xml"/><Relationship Id="rId7" Type="http://schemas.openxmlformats.org/officeDocument/2006/relationships/tags" Target="../tags/tag538.xml"/><Relationship Id="rId2" Type="http://schemas.openxmlformats.org/officeDocument/2006/relationships/tags" Target="../tags/tag533.xml"/><Relationship Id="rId1" Type="http://schemas.openxmlformats.org/officeDocument/2006/relationships/tags" Target="../tags/tag532.xml"/><Relationship Id="rId6" Type="http://schemas.openxmlformats.org/officeDocument/2006/relationships/tags" Target="../tags/tag537.xml"/><Relationship Id="rId5" Type="http://schemas.openxmlformats.org/officeDocument/2006/relationships/tags" Target="../tags/tag53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35.xml"/><Relationship Id="rId9" Type="http://schemas.openxmlformats.org/officeDocument/2006/relationships/tags" Target="../tags/tag540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3.xml"/><Relationship Id="rId7" Type="http://schemas.openxmlformats.org/officeDocument/2006/relationships/tags" Target="../tags/tag547.xml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tags" Target="../tags/tag546.xml"/><Relationship Id="rId5" Type="http://schemas.openxmlformats.org/officeDocument/2006/relationships/tags" Target="../tags/tag545.xml"/><Relationship Id="rId4" Type="http://schemas.openxmlformats.org/officeDocument/2006/relationships/tags" Target="../tags/tag544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555.xml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2" Type="http://schemas.openxmlformats.org/officeDocument/2006/relationships/tags" Target="../tags/tag549.xml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52.xml"/><Relationship Id="rId10" Type="http://schemas.openxmlformats.org/officeDocument/2006/relationships/tags" Target="../tags/tag557.xml"/><Relationship Id="rId4" Type="http://schemas.openxmlformats.org/officeDocument/2006/relationships/tags" Target="../tags/tag551.xml"/><Relationship Id="rId9" Type="http://schemas.openxmlformats.org/officeDocument/2006/relationships/tags" Target="../tags/tag556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565.xml"/><Relationship Id="rId3" Type="http://schemas.openxmlformats.org/officeDocument/2006/relationships/tags" Target="../tags/tag560.xml"/><Relationship Id="rId7" Type="http://schemas.openxmlformats.org/officeDocument/2006/relationships/tags" Target="../tags/tag564.xml"/><Relationship Id="rId2" Type="http://schemas.openxmlformats.org/officeDocument/2006/relationships/tags" Target="../tags/tag559.xml"/><Relationship Id="rId1" Type="http://schemas.openxmlformats.org/officeDocument/2006/relationships/tags" Target="../tags/tag558.xml"/><Relationship Id="rId6" Type="http://schemas.openxmlformats.org/officeDocument/2006/relationships/tags" Target="../tags/tag56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62.xml"/><Relationship Id="rId10" Type="http://schemas.openxmlformats.org/officeDocument/2006/relationships/tags" Target="../tags/tag567.xml"/><Relationship Id="rId4" Type="http://schemas.openxmlformats.org/officeDocument/2006/relationships/tags" Target="../tags/tag561.xml"/><Relationship Id="rId9" Type="http://schemas.openxmlformats.org/officeDocument/2006/relationships/tags" Target="../tags/tag566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575.xml"/><Relationship Id="rId13" Type="http://schemas.openxmlformats.org/officeDocument/2006/relationships/tags" Target="../tags/tag580.xml"/><Relationship Id="rId3" Type="http://schemas.openxmlformats.org/officeDocument/2006/relationships/tags" Target="../tags/tag570.xml"/><Relationship Id="rId7" Type="http://schemas.openxmlformats.org/officeDocument/2006/relationships/tags" Target="../tags/tag574.xml"/><Relationship Id="rId12" Type="http://schemas.openxmlformats.org/officeDocument/2006/relationships/tags" Target="../tags/tag579.xml"/><Relationship Id="rId2" Type="http://schemas.openxmlformats.org/officeDocument/2006/relationships/tags" Target="../tags/tag569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568.xml"/><Relationship Id="rId6" Type="http://schemas.openxmlformats.org/officeDocument/2006/relationships/tags" Target="../tags/tag573.xml"/><Relationship Id="rId11" Type="http://schemas.openxmlformats.org/officeDocument/2006/relationships/tags" Target="../tags/tag578.xml"/><Relationship Id="rId5" Type="http://schemas.openxmlformats.org/officeDocument/2006/relationships/tags" Target="../tags/tag572.xml"/><Relationship Id="rId15" Type="http://schemas.openxmlformats.org/officeDocument/2006/relationships/tags" Target="../tags/tag582.xml"/><Relationship Id="rId10" Type="http://schemas.openxmlformats.org/officeDocument/2006/relationships/tags" Target="../tags/tag577.xml"/><Relationship Id="rId4" Type="http://schemas.openxmlformats.org/officeDocument/2006/relationships/tags" Target="../tags/tag571.xml"/><Relationship Id="rId9" Type="http://schemas.openxmlformats.org/officeDocument/2006/relationships/tags" Target="../tags/tag576.xml"/><Relationship Id="rId14" Type="http://schemas.openxmlformats.org/officeDocument/2006/relationships/tags" Target="../tags/tag581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590.xml"/><Relationship Id="rId13" Type="http://schemas.openxmlformats.org/officeDocument/2006/relationships/tags" Target="../tags/tag595.xml"/><Relationship Id="rId18" Type="http://schemas.openxmlformats.org/officeDocument/2006/relationships/tags" Target="../tags/tag600.xml"/><Relationship Id="rId3" Type="http://schemas.openxmlformats.org/officeDocument/2006/relationships/tags" Target="../tags/tag585.xml"/><Relationship Id="rId7" Type="http://schemas.openxmlformats.org/officeDocument/2006/relationships/tags" Target="../tags/tag589.xml"/><Relationship Id="rId12" Type="http://schemas.openxmlformats.org/officeDocument/2006/relationships/tags" Target="../tags/tag594.xml"/><Relationship Id="rId17" Type="http://schemas.openxmlformats.org/officeDocument/2006/relationships/tags" Target="../tags/tag599.xml"/><Relationship Id="rId2" Type="http://schemas.openxmlformats.org/officeDocument/2006/relationships/tags" Target="../tags/tag584.xml"/><Relationship Id="rId16" Type="http://schemas.openxmlformats.org/officeDocument/2006/relationships/tags" Target="../tags/tag598.xml"/><Relationship Id="rId1" Type="http://schemas.openxmlformats.org/officeDocument/2006/relationships/tags" Target="../tags/tag583.xml"/><Relationship Id="rId6" Type="http://schemas.openxmlformats.org/officeDocument/2006/relationships/tags" Target="../tags/tag588.xml"/><Relationship Id="rId11" Type="http://schemas.openxmlformats.org/officeDocument/2006/relationships/tags" Target="../tags/tag593.xml"/><Relationship Id="rId5" Type="http://schemas.openxmlformats.org/officeDocument/2006/relationships/tags" Target="../tags/tag587.xml"/><Relationship Id="rId15" Type="http://schemas.openxmlformats.org/officeDocument/2006/relationships/tags" Target="../tags/tag597.xml"/><Relationship Id="rId10" Type="http://schemas.openxmlformats.org/officeDocument/2006/relationships/tags" Target="../tags/tag592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586.xml"/><Relationship Id="rId9" Type="http://schemas.openxmlformats.org/officeDocument/2006/relationships/tags" Target="../tags/tag591.xml"/><Relationship Id="rId14" Type="http://schemas.openxmlformats.org/officeDocument/2006/relationships/tags" Target="../tags/tag59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608.xml"/><Relationship Id="rId13" Type="http://schemas.openxmlformats.org/officeDocument/2006/relationships/tags" Target="../tags/tag613.xml"/><Relationship Id="rId18" Type="http://schemas.openxmlformats.org/officeDocument/2006/relationships/tags" Target="../tags/tag618.xml"/><Relationship Id="rId3" Type="http://schemas.openxmlformats.org/officeDocument/2006/relationships/tags" Target="../tags/tag603.xml"/><Relationship Id="rId21" Type="http://schemas.openxmlformats.org/officeDocument/2006/relationships/tags" Target="../tags/tag621.xml"/><Relationship Id="rId7" Type="http://schemas.openxmlformats.org/officeDocument/2006/relationships/tags" Target="../tags/tag607.xml"/><Relationship Id="rId12" Type="http://schemas.openxmlformats.org/officeDocument/2006/relationships/tags" Target="../tags/tag612.xml"/><Relationship Id="rId17" Type="http://schemas.openxmlformats.org/officeDocument/2006/relationships/tags" Target="../tags/tag617.xml"/><Relationship Id="rId25" Type="http://schemas.openxmlformats.org/officeDocument/2006/relationships/slideMaster" Target="../slideMasters/slideMaster1.xml"/><Relationship Id="rId2" Type="http://schemas.openxmlformats.org/officeDocument/2006/relationships/tags" Target="../tags/tag602.xml"/><Relationship Id="rId16" Type="http://schemas.openxmlformats.org/officeDocument/2006/relationships/tags" Target="../tags/tag616.xml"/><Relationship Id="rId20" Type="http://schemas.openxmlformats.org/officeDocument/2006/relationships/tags" Target="../tags/tag620.xml"/><Relationship Id="rId1" Type="http://schemas.openxmlformats.org/officeDocument/2006/relationships/tags" Target="../tags/tag601.xml"/><Relationship Id="rId6" Type="http://schemas.openxmlformats.org/officeDocument/2006/relationships/tags" Target="../tags/tag606.xml"/><Relationship Id="rId11" Type="http://schemas.openxmlformats.org/officeDocument/2006/relationships/tags" Target="../tags/tag611.xml"/><Relationship Id="rId24" Type="http://schemas.openxmlformats.org/officeDocument/2006/relationships/tags" Target="../tags/tag624.xml"/><Relationship Id="rId5" Type="http://schemas.openxmlformats.org/officeDocument/2006/relationships/tags" Target="../tags/tag605.xml"/><Relationship Id="rId15" Type="http://schemas.openxmlformats.org/officeDocument/2006/relationships/tags" Target="../tags/tag615.xml"/><Relationship Id="rId23" Type="http://schemas.openxmlformats.org/officeDocument/2006/relationships/tags" Target="../tags/tag623.xml"/><Relationship Id="rId10" Type="http://schemas.openxmlformats.org/officeDocument/2006/relationships/tags" Target="../tags/tag610.xml"/><Relationship Id="rId19" Type="http://schemas.openxmlformats.org/officeDocument/2006/relationships/tags" Target="../tags/tag619.xml"/><Relationship Id="rId4" Type="http://schemas.openxmlformats.org/officeDocument/2006/relationships/tags" Target="../tags/tag604.xml"/><Relationship Id="rId9" Type="http://schemas.openxmlformats.org/officeDocument/2006/relationships/tags" Target="../tags/tag609.xml"/><Relationship Id="rId14" Type="http://schemas.openxmlformats.org/officeDocument/2006/relationships/tags" Target="../tags/tag614.xml"/><Relationship Id="rId22" Type="http://schemas.openxmlformats.org/officeDocument/2006/relationships/tags" Target="../tags/tag62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large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17F492-0D2F-2DD2-F54D-7620C4051A97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533694 w 12192000"/>
              <a:gd name="connsiteY0" fmla="*/ 2045827 h 6858000"/>
              <a:gd name="connsiteX1" fmla="*/ 8430765 w 12192000"/>
              <a:gd name="connsiteY1" fmla="*/ 2149569 h 6858000"/>
              <a:gd name="connsiteX2" fmla="*/ 8430765 w 12192000"/>
              <a:gd name="connsiteY2" fmla="*/ 2633672 h 6858000"/>
              <a:gd name="connsiteX3" fmla="*/ 8533694 w 12192000"/>
              <a:gd name="connsiteY3" fmla="*/ 2737413 h 6858000"/>
              <a:gd name="connsiteX4" fmla="*/ 8670936 w 12192000"/>
              <a:gd name="connsiteY4" fmla="*/ 2737413 h 6858000"/>
              <a:gd name="connsiteX5" fmla="*/ 8705250 w 12192000"/>
              <a:gd name="connsiteY5" fmla="*/ 2771989 h 6858000"/>
              <a:gd name="connsiteX6" fmla="*/ 8705250 w 12192000"/>
              <a:gd name="connsiteY6" fmla="*/ 3671059 h 6858000"/>
              <a:gd name="connsiteX7" fmla="*/ 8670936 w 12192000"/>
              <a:gd name="connsiteY7" fmla="*/ 3705634 h 6858000"/>
              <a:gd name="connsiteX8" fmla="*/ 8533694 w 12192000"/>
              <a:gd name="connsiteY8" fmla="*/ 3705634 h 6858000"/>
              <a:gd name="connsiteX9" fmla="*/ 8430765 w 12192000"/>
              <a:gd name="connsiteY9" fmla="*/ 3809376 h 6858000"/>
              <a:gd name="connsiteX10" fmla="*/ 8430765 w 12192000"/>
              <a:gd name="connsiteY10" fmla="*/ 4708431 h 6858000"/>
              <a:gd name="connsiteX11" fmla="*/ 8533694 w 12192000"/>
              <a:gd name="connsiteY11" fmla="*/ 4812172 h 6858000"/>
              <a:gd name="connsiteX12" fmla="*/ 9837521 w 12192000"/>
              <a:gd name="connsiteY12" fmla="*/ 4812172 h 6858000"/>
              <a:gd name="connsiteX13" fmla="*/ 9940464 w 12192000"/>
              <a:gd name="connsiteY13" fmla="*/ 4708431 h 6858000"/>
              <a:gd name="connsiteX14" fmla="*/ 9940464 w 12192000"/>
              <a:gd name="connsiteY14" fmla="*/ 3809376 h 6858000"/>
              <a:gd name="connsiteX15" fmla="*/ 9837521 w 12192000"/>
              <a:gd name="connsiteY15" fmla="*/ 3705634 h 6858000"/>
              <a:gd name="connsiteX16" fmla="*/ 9700278 w 12192000"/>
              <a:gd name="connsiteY16" fmla="*/ 3705634 h 6858000"/>
              <a:gd name="connsiteX17" fmla="*/ 9665964 w 12192000"/>
              <a:gd name="connsiteY17" fmla="*/ 3671059 h 6858000"/>
              <a:gd name="connsiteX18" fmla="*/ 9665964 w 12192000"/>
              <a:gd name="connsiteY18" fmla="*/ 3463575 h 6858000"/>
              <a:gd name="connsiteX19" fmla="*/ 9700278 w 12192000"/>
              <a:gd name="connsiteY19" fmla="*/ 3429000 h 6858000"/>
              <a:gd name="connsiteX20" fmla="*/ 10043392 w 12192000"/>
              <a:gd name="connsiteY20" fmla="*/ 3429000 h 6858000"/>
              <a:gd name="connsiteX21" fmla="*/ 10077707 w 12192000"/>
              <a:gd name="connsiteY21" fmla="*/ 3462791 h 6858000"/>
              <a:gd name="connsiteX22" fmla="*/ 10180635 w 12192000"/>
              <a:gd name="connsiteY22" fmla="*/ 3567317 h 6858000"/>
              <a:gd name="connsiteX23" fmla="*/ 10935492 w 12192000"/>
              <a:gd name="connsiteY23" fmla="*/ 3567317 h 6858000"/>
              <a:gd name="connsiteX24" fmla="*/ 11038420 w 12192000"/>
              <a:gd name="connsiteY24" fmla="*/ 3463575 h 6858000"/>
              <a:gd name="connsiteX25" fmla="*/ 11038420 w 12192000"/>
              <a:gd name="connsiteY25" fmla="*/ 2979472 h 6858000"/>
              <a:gd name="connsiteX26" fmla="*/ 10935492 w 12192000"/>
              <a:gd name="connsiteY26" fmla="*/ 2875731 h 6858000"/>
              <a:gd name="connsiteX27" fmla="*/ 10180635 w 12192000"/>
              <a:gd name="connsiteY27" fmla="*/ 2875731 h 6858000"/>
              <a:gd name="connsiteX28" fmla="*/ 10077707 w 12192000"/>
              <a:gd name="connsiteY28" fmla="*/ 2980256 h 6858000"/>
              <a:gd name="connsiteX29" fmla="*/ 10043392 w 12192000"/>
              <a:gd name="connsiteY29" fmla="*/ 3014048 h 6858000"/>
              <a:gd name="connsiteX30" fmla="*/ 9700278 w 12192000"/>
              <a:gd name="connsiteY30" fmla="*/ 3014048 h 6858000"/>
              <a:gd name="connsiteX31" fmla="*/ 9665964 w 12192000"/>
              <a:gd name="connsiteY31" fmla="*/ 2979472 h 6858000"/>
              <a:gd name="connsiteX32" fmla="*/ 9665964 w 12192000"/>
              <a:gd name="connsiteY32" fmla="*/ 2495355 h 6858000"/>
              <a:gd name="connsiteX33" fmla="*/ 9700278 w 12192000"/>
              <a:gd name="connsiteY33" fmla="*/ 2460779 h 6858000"/>
              <a:gd name="connsiteX34" fmla="*/ 10729620 w 12192000"/>
              <a:gd name="connsiteY34" fmla="*/ 2460779 h 6858000"/>
              <a:gd name="connsiteX35" fmla="*/ 10763935 w 12192000"/>
              <a:gd name="connsiteY35" fmla="*/ 2495355 h 6858000"/>
              <a:gd name="connsiteX36" fmla="*/ 10763935 w 12192000"/>
              <a:gd name="connsiteY36" fmla="*/ 2633672 h 6858000"/>
              <a:gd name="connsiteX37" fmla="*/ 10866863 w 12192000"/>
              <a:gd name="connsiteY37" fmla="*/ 2737413 h 6858000"/>
              <a:gd name="connsiteX38" fmla="*/ 11896205 w 12192000"/>
              <a:gd name="connsiteY38" fmla="*/ 2737413 h 6858000"/>
              <a:gd name="connsiteX39" fmla="*/ 11999134 w 12192000"/>
              <a:gd name="connsiteY39" fmla="*/ 2633672 h 6858000"/>
              <a:gd name="connsiteX40" fmla="*/ 11999134 w 12192000"/>
              <a:gd name="connsiteY40" fmla="*/ 2149569 h 6858000"/>
              <a:gd name="connsiteX41" fmla="*/ 11896205 w 12192000"/>
              <a:gd name="connsiteY41" fmla="*/ 2045827 h 6858000"/>
              <a:gd name="connsiteX42" fmla="*/ 4416354 w 12192000"/>
              <a:gd name="connsiteY42" fmla="*/ 2045827 h 6858000"/>
              <a:gd name="connsiteX43" fmla="*/ 4313426 w 12192000"/>
              <a:gd name="connsiteY43" fmla="*/ 2149569 h 6858000"/>
              <a:gd name="connsiteX44" fmla="*/ 4313426 w 12192000"/>
              <a:gd name="connsiteY44" fmla="*/ 2633672 h 6858000"/>
              <a:gd name="connsiteX45" fmla="*/ 4416354 w 12192000"/>
              <a:gd name="connsiteY45" fmla="*/ 2737413 h 6858000"/>
              <a:gd name="connsiteX46" fmla="*/ 4553597 w 12192000"/>
              <a:gd name="connsiteY46" fmla="*/ 2737413 h 6858000"/>
              <a:gd name="connsiteX47" fmla="*/ 4587911 w 12192000"/>
              <a:gd name="connsiteY47" fmla="*/ 2771989 h 6858000"/>
              <a:gd name="connsiteX48" fmla="*/ 4587911 w 12192000"/>
              <a:gd name="connsiteY48" fmla="*/ 3671059 h 6858000"/>
              <a:gd name="connsiteX49" fmla="*/ 4553597 w 12192000"/>
              <a:gd name="connsiteY49" fmla="*/ 3705634 h 6858000"/>
              <a:gd name="connsiteX50" fmla="*/ 4416354 w 12192000"/>
              <a:gd name="connsiteY50" fmla="*/ 3705634 h 6858000"/>
              <a:gd name="connsiteX51" fmla="*/ 4313426 w 12192000"/>
              <a:gd name="connsiteY51" fmla="*/ 3809376 h 6858000"/>
              <a:gd name="connsiteX52" fmla="*/ 4313426 w 12192000"/>
              <a:gd name="connsiteY52" fmla="*/ 4708431 h 6858000"/>
              <a:gd name="connsiteX53" fmla="*/ 4416354 w 12192000"/>
              <a:gd name="connsiteY53" fmla="*/ 4812172 h 6858000"/>
              <a:gd name="connsiteX54" fmla="*/ 5445696 w 12192000"/>
              <a:gd name="connsiteY54" fmla="*/ 4812172 h 6858000"/>
              <a:gd name="connsiteX55" fmla="*/ 5548625 w 12192000"/>
              <a:gd name="connsiteY55" fmla="*/ 4708431 h 6858000"/>
              <a:gd name="connsiteX56" fmla="*/ 5548625 w 12192000"/>
              <a:gd name="connsiteY56" fmla="*/ 3650786 h 6858000"/>
              <a:gd name="connsiteX57" fmla="*/ 5607205 w 12192000"/>
              <a:gd name="connsiteY57" fmla="*/ 3626332 h 6858000"/>
              <a:gd name="connsiteX58" fmla="*/ 6753677 w 12192000"/>
              <a:gd name="connsiteY58" fmla="*/ 4781779 h 6858000"/>
              <a:gd name="connsiteX59" fmla="*/ 6826459 w 12192000"/>
              <a:gd name="connsiteY59" fmla="*/ 4812172 h 6858000"/>
              <a:gd name="connsiteX60" fmla="*/ 7778851 w 12192000"/>
              <a:gd name="connsiteY60" fmla="*/ 4812172 h 6858000"/>
              <a:gd name="connsiteX61" fmla="*/ 7881780 w 12192000"/>
              <a:gd name="connsiteY61" fmla="*/ 4708431 h 6858000"/>
              <a:gd name="connsiteX62" fmla="*/ 7881780 w 12192000"/>
              <a:gd name="connsiteY62" fmla="*/ 3809376 h 6858000"/>
              <a:gd name="connsiteX63" fmla="*/ 7778851 w 12192000"/>
              <a:gd name="connsiteY63" fmla="*/ 3705634 h 6858000"/>
              <a:gd name="connsiteX64" fmla="*/ 7375444 w 12192000"/>
              <a:gd name="connsiteY64" fmla="*/ 3705634 h 6858000"/>
              <a:gd name="connsiteX65" fmla="*/ 7302662 w 12192000"/>
              <a:gd name="connsiteY65" fmla="*/ 3675241 h 6858000"/>
              <a:gd name="connsiteX66" fmla="*/ 6430661 w 12192000"/>
              <a:gd name="connsiteY66" fmla="*/ 2796429 h 6858000"/>
              <a:gd name="connsiteX67" fmla="*/ 6454926 w 12192000"/>
              <a:gd name="connsiteY67" fmla="*/ 2737399 h 6858000"/>
              <a:gd name="connsiteX68" fmla="*/ 7367109 w 12192000"/>
              <a:gd name="connsiteY68" fmla="*/ 2737399 h 6858000"/>
              <a:gd name="connsiteX69" fmla="*/ 7470052 w 12192000"/>
              <a:gd name="connsiteY69" fmla="*/ 2633658 h 6858000"/>
              <a:gd name="connsiteX70" fmla="*/ 7470052 w 12192000"/>
              <a:gd name="connsiteY70" fmla="*/ 2149569 h 6858000"/>
              <a:gd name="connsiteX71" fmla="*/ 7367109 w 12192000"/>
              <a:gd name="connsiteY71" fmla="*/ 2045827 h 6858000"/>
              <a:gd name="connsiteX72" fmla="*/ 6551973 w 12192000"/>
              <a:gd name="connsiteY72" fmla="*/ 2045827 h 6858000"/>
              <a:gd name="connsiteX73" fmla="*/ 6479192 w 12192000"/>
              <a:gd name="connsiteY73" fmla="*/ 2076221 h 6858000"/>
              <a:gd name="connsiteX74" fmla="*/ 5607205 w 12192000"/>
              <a:gd name="connsiteY74" fmla="*/ 2955033 h 6858000"/>
              <a:gd name="connsiteX75" fmla="*/ 5548625 w 12192000"/>
              <a:gd name="connsiteY75" fmla="*/ 2930578 h 6858000"/>
              <a:gd name="connsiteX76" fmla="*/ 5548625 w 12192000"/>
              <a:gd name="connsiteY76" fmla="*/ 2149569 h 6858000"/>
              <a:gd name="connsiteX77" fmla="*/ 5445696 w 12192000"/>
              <a:gd name="connsiteY77" fmla="*/ 2045827 h 6858000"/>
              <a:gd name="connsiteX78" fmla="*/ 710728 w 12192000"/>
              <a:gd name="connsiteY78" fmla="*/ 2045827 h 6858000"/>
              <a:gd name="connsiteX79" fmla="*/ 607785 w 12192000"/>
              <a:gd name="connsiteY79" fmla="*/ 2149569 h 6858000"/>
              <a:gd name="connsiteX80" fmla="*/ 607785 w 12192000"/>
              <a:gd name="connsiteY80" fmla="*/ 3325258 h 6858000"/>
              <a:gd name="connsiteX81" fmla="*/ 710728 w 12192000"/>
              <a:gd name="connsiteY81" fmla="*/ 3429000 h 6858000"/>
              <a:gd name="connsiteX82" fmla="*/ 2494913 w 12192000"/>
              <a:gd name="connsiteY82" fmla="*/ 3429000 h 6858000"/>
              <a:gd name="connsiteX83" fmla="*/ 2529227 w 12192000"/>
              <a:gd name="connsiteY83" fmla="*/ 3463575 h 6858000"/>
              <a:gd name="connsiteX84" fmla="*/ 2529227 w 12192000"/>
              <a:gd name="connsiteY84" fmla="*/ 4362645 h 6858000"/>
              <a:gd name="connsiteX85" fmla="*/ 2494913 w 12192000"/>
              <a:gd name="connsiteY85" fmla="*/ 4397220 h 6858000"/>
              <a:gd name="connsiteX86" fmla="*/ 1465570 w 12192000"/>
              <a:gd name="connsiteY86" fmla="*/ 4397220 h 6858000"/>
              <a:gd name="connsiteX87" fmla="*/ 1431256 w 12192000"/>
              <a:gd name="connsiteY87" fmla="*/ 4362645 h 6858000"/>
              <a:gd name="connsiteX88" fmla="*/ 1431256 w 12192000"/>
              <a:gd name="connsiteY88" fmla="*/ 3809376 h 6858000"/>
              <a:gd name="connsiteX89" fmla="*/ 1328328 w 12192000"/>
              <a:gd name="connsiteY89" fmla="*/ 3705634 h 6858000"/>
              <a:gd name="connsiteX90" fmla="*/ 298986 w 12192000"/>
              <a:gd name="connsiteY90" fmla="*/ 3705634 h 6858000"/>
              <a:gd name="connsiteX91" fmla="*/ 196057 w 12192000"/>
              <a:gd name="connsiteY91" fmla="*/ 3809376 h 6858000"/>
              <a:gd name="connsiteX92" fmla="*/ 196057 w 12192000"/>
              <a:gd name="connsiteY92" fmla="*/ 4708431 h 6858000"/>
              <a:gd name="connsiteX93" fmla="*/ 298986 w 12192000"/>
              <a:gd name="connsiteY93" fmla="*/ 4812172 h 6858000"/>
              <a:gd name="connsiteX94" fmla="*/ 3661498 w 12192000"/>
              <a:gd name="connsiteY94" fmla="*/ 4812172 h 6858000"/>
              <a:gd name="connsiteX95" fmla="*/ 3764426 w 12192000"/>
              <a:gd name="connsiteY95" fmla="*/ 4708431 h 6858000"/>
              <a:gd name="connsiteX96" fmla="*/ 3764426 w 12192000"/>
              <a:gd name="connsiteY96" fmla="*/ 3117790 h 6858000"/>
              <a:gd name="connsiteX97" fmla="*/ 3661498 w 12192000"/>
              <a:gd name="connsiteY97" fmla="*/ 3014048 h 6858000"/>
              <a:gd name="connsiteX98" fmla="*/ 1602813 w 12192000"/>
              <a:gd name="connsiteY98" fmla="*/ 3014048 h 6858000"/>
              <a:gd name="connsiteX99" fmla="*/ 1568513 w 12192000"/>
              <a:gd name="connsiteY99" fmla="*/ 2979472 h 6858000"/>
              <a:gd name="connsiteX100" fmla="*/ 1568513 w 12192000"/>
              <a:gd name="connsiteY100" fmla="*/ 2495355 h 6858000"/>
              <a:gd name="connsiteX101" fmla="*/ 1602813 w 12192000"/>
              <a:gd name="connsiteY101" fmla="*/ 2460779 h 6858000"/>
              <a:gd name="connsiteX102" fmla="*/ 2357670 w 12192000"/>
              <a:gd name="connsiteY102" fmla="*/ 2460779 h 6858000"/>
              <a:gd name="connsiteX103" fmla="*/ 2391984 w 12192000"/>
              <a:gd name="connsiteY103" fmla="*/ 2495340 h 6858000"/>
              <a:gd name="connsiteX104" fmla="*/ 2391984 w 12192000"/>
              <a:gd name="connsiteY104" fmla="*/ 2633672 h 6858000"/>
              <a:gd name="connsiteX105" fmla="*/ 2494913 w 12192000"/>
              <a:gd name="connsiteY105" fmla="*/ 2737413 h 6858000"/>
              <a:gd name="connsiteX106" fmla="*/ 3249755 w 12192000"/>
              <a:gd name="connsiteY106" fmla="*/ 2737413 h 6858000"/>
              <a:gd name="connsiteX107" fmla="*/ 3352698 w 12192000"/>
              <a:gd name="connsiteY107" fmla="*/ 2633672 h 6858000"/>
              <a:gd name="connsiteX108" fmla="*/ 3352698 w 12192000"/>
              <a:gd name="connsiteY108" fmla="*/ 2149569 h 6858000"/>
              <a:gd name="connsiteX109" fmla="*/ 3249755 w 12192000"/>
              <a:gd name="connsiteY109" fmla="*/ 2045827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8533694" y="2045827"/>
                </a:moveTo>
                <a:cubicBezTo>
                  <a:pt x="8476856" y="2045827"/>
                  <a:pt x="8430765" y="2092267"/>
                  <a:pt x="8430765" y="2149569"/>
                </a:cubicBezTo>
                <a:lnTo>
                  <a:pt x="8430765" y="2633672"/>
                </a:lnTo>
                <a:cubicBezTo>
                  <a:pt x="8430765" y="2690974"/>
                  <a:pt x="8476856" y="2737413"/>
                  <a:pt x="8533694" y="2737413"/>
                </a:cubicBezTo>
                <a:lnTo>
                  <a:pt x="8670936" y="2737413"/>
                </a:lnTo>
                <a:cubicBezTo>
                  <a:pt x="8689901" y="2737413"/>
                  <a:pt x="8705250" y="2752894"/>
                  <a:pt x="8705250" y="2771989"/>
                </a:cubicBezTo>
                <a:lnTo>
                  <a:pt x="8705250" y="3671059"/>
                </a:lnTo>
                <a:cubicBezTo>
                  <a:pt x="8705250" y="3690154"/>
                  <a:pt x="8689901" y="3705634"/>
                  <a:pt x="8670936" y="3705634"/>
                </a:cubicBezTo>
                <a:lnTo>
                  <a:pt x="8533694" y="3705634"/>
                </a:lnTo>
                <a:cubicBezTo>
                  <a:pt x="8476856" y="3705634"/>
                  <a:pt x="8430765" y="3752088"/>
                  <a:pt x="8430765" y="3809376"/>
                </a:cubicBezTo>
                <a:lnTo>
                  <a:pt x="8430765" y="4708431"/>
                </a:lnTo>
                <a:cubicBezTo>
                  <a:pt x="8430765" y="4765732"/>
                  <a:pt x="8476856" y="4812172"/>
                  <a:pt x="8533694" y="4812172"/>
                </a:cubicBezTo>
                <a:lnTo>
                  <a:pt x="9837521" y="4812172"/>
                </a:lnTo>
                <a:cubicBezTo>
                  <a:pt x="9894373" y="4812172"/>
                  <a:pt x="9940464" y="4765732"/>
                  <a:pt x="9940464" y="4708431"/>
                </a:cubicBezTo>
                <a:lnTo>
                  <a:pt x="9940464" y="3809376"/>
                </a:lnTo>
                <a:cubicBezTo>
                  <a:pt x="9940464" y="3752088"/>
                  <a:pt x="9894373" y="3705634"/>
                  <a:pt x="9837521" y="3705634"/>
                </a:cubicBezTo>
                <a:lnTo>
                  <a:pt x="9700278" y="3705634"/>
                </a:lnTo>
                <a:cubicBezTo>
                  <a:pt x="9681328" y="3705634"/>
                  <a:pt x="9665964" y="3690154"/>
                  <a:pt x="9665964" y="3671059"/>
                </a:cubicBezTo>
                <a:lnTo>
                  <a:pt x="9665964" y="3463575"/>
                </a:lnTo>
                <a:cubicBezTo>
                  <a:pt x="9665964" y="3444480"/>
                  <a:pt x="9681328" y="3429000"/>
                  <a:pt x="9700278" y="3429000"/>
                </a:cubicBezTo>
                <a:lnTo>
                  <a:pt x="10043392" y="3429000"/>
                </a:lnTo>
                <a:cubicBezTo>
                  <a:pt x="10062081" y="3429000"/>
                  <a:pt x="10077837" y="3443957"/>
                  <a:pt x="10077707" y="3462791"/>
                </a:cubicBezTo>
                <a:cubicBezTo>
                  <a:pt x="10077271" y="3520427"/>
                  <a:pt x="10123522" y="3567317"/>
                  <a:pt x="10180635" y="3567317"/>
                </a:cubicBezTo>
                <a:lnTo>
                  <a:pt x="10935492" y="3567317"/>
                </a:lnTo>
                <a:cubicBezTo>
                  <a:pt x="10992329" y="3567317"/>
                  <a:pt x="11038420" y="3520877"/>
                  <a:pt x="11038420" y="3463575"/>
                </a:cubicBezTo>
                <a:lnTo>
                  <a:pt x="11038420" y="2979472"/>
                </a:lnTo>
                <a:cubicBezTo>
                  <a:pt x="11038420" y="2922171"/>
                  <a:pt x="10992329" y="2875731"/>
                  <a:pt x="10935492" y="2875731"/>
                </a:cubicBezTo>
                <a:lnTo>
                  <a:pt x="10180635" y="2875731"/>
                </a:lnTo>
                <a:cubicBezTo>
                  <a:pt x="10123522" y="2875731"/>
                  <a:pt x="10077271" y="2922606"/>
                  <a:pt x="10077707" y="2980256"/>
                </a:cubicBezTo>
                <a:cubicBezTo>
                  <a:pt x="10077837" y="2999091"/>
                  <a:pt x="10062081" y="3014048"/>
                  <a:pt x="10043392" y="3014048"/>
                </a:cubicBezTo>
                <a:lnTo>
                  <a:pt x="9700278" y="3014048"/>
                </a:lnTo>
                <a:cubicBezTo>
                  <a:pt x="9681328" y="3014048"/>
                  <a:pt x="9665964" y="2998568"/>
                  <a:pt x="9665964" y="2979472"/>
                </a:cubicBezTo>
                <a:lnTo>
                  <a:pt x="9665964" y="2495355"/>
                </a:lnTo>
                <a:cubicBezTo>
                  <a:pt x="9665964" y="2476259"/>
                  <a:pt x="9681328" y="2460779"/>
                  <a:pt x="9700278" y="2460779"/>
                </a:cubicBezTo>
                <a:lnTo>
                  <a:pt x="10729620" y="2460779"/>
                </a:lnTo>
                <a:cubicBezTo>
                  <a:pt x="10748571" y="2460779"/>
                  <a:pt x="10763935" y="2476259"/>
                  <a:pt x="10763935" y="2495355"/>
                </a:cubicBezTo>
                <a:lnTo>
                  <a:pt x="10763935" y="2633672"/>
                </a:lnTo>
                <a:cubicBezTo>
                  <a:pt x="10763935" y="2690974"/>
                  <a:pt x="10810011" y="2737413"/>
                  <a:pt x="10866863" y="2737413"/>
                </a:cubicBezTo>
                <a:lnTo>
                  <a:pt x="11896205" y="2737413"/>
                </a:lnTo>
                <a:cubicBezTo>
                  <a:pt x="11953042" y="2737413"/>
                  <a:pt x="11999134" y="2690974"/>
                  <a:pt x="11999134" y="2633672"/>
                </a:cubicBezTo>
                <a:lnTo>
                  <a:pt x="11999134" y="2149569"/>
                </a:lnTo>
                <a:cubicBezTo>
                  <a:pt x="11999134" y="2092267"/>
                  <a:pt x="11953042" y="2045827"/>
                  <a:pt x="11896205" y="2045827"/>
                </a:cubicBezTo>
                <a:close/>
                <a:moveTo>
                  <a:pt x="4416354" y="2045827"/>
                </a:moveTo>
                <a:cubicBezTo>
                  <a:pt x="4359517" y="2045827"/>
                  <a:pt x="4313426" y="2092267"/>
                  <a:pt x="4313426" y="2149569"/>
                </a:cubicBezTo>
                <a:lnTo>
                  <a:pt x="4313426" y="2633672"/>
                </a:lnTo>
                <a:cubicBezTo>
                  <a:pt x="4313426" y="2690974"/>
                  <a:pt x="4359517" y="2737413"/>
                  <a:pt x="4416354" y="2737413"/>
                </a:cubicBezTo>
                <a:lnTo>
                  <a:pt x="4553597" y="2737413"/>
                </a:lnTo>
                <a:cubicBezTo>
                  <a:pt x="4572562" y="2737413"/>
                  <a:pt x="4587911" y="2752894"/>
                  <a:pt x="4587911" y="2771989"/>
                </a:cubicBezTo>
                <a:lnTo>
                  <a:pt x="4587911" y="3671059"/>
                </a:lnTo>
                <a:cubicBezTo>
                  <a:pt x="4587911" y="3690154"/>
                  <a:pt x="4572562" y="3705634"/>
                  <a:pt x="4553597" y="3705634"/>
                </a:cubicBezTo>
                <a:lnTo>
                  <a:pt x="4416354" y="3705634"/>
                </a:lnTo>
                <a:cubicBezTo>
                  <a:pt x="4359517" y="3705634"/>
                  <a:pt x="4313426" y="3752088"/>
                  <a:pt x="4313426" y="3809376"/>
                </a:cubicBezTo>
                <a:lnTo>
                  <a:pt x="4313426" y="4708431"/>
                </a:lnTo>
                <a:cubicBezTo>
                  <a:pt x="4313426" y="4765732"/>
                  <a:pt x="4359517" y="4812158"/>
                  <a:pt x="4416354" y="4812172"/>
                </a:cubicBezTo>
                <a:lnTo>
                  <a:pt x="5445696" y="4812172"/>
                </a:lnTo>
                <a:cubicBezTo>
                  <a:pt x="5502548" y="4812172"/>
                  <a:pt x="5548625" y="4765732"/>
                  <a:pt x="5548625" y="4708431"/>
                </a:cubicBezTo>
                <a:lnTo>
                  <a:pt x="5548625" y="3650786"/>
                </a:lnTo>
                <a:cubicBezTo>
                  <a:pt x="5548625" y="3619986"/>
                  <a:pt x="5585596" y="3604550"/>
                  <a:pt x="5607205" y="3626332"/>
                </a:cubicBezTo>
                <a:lnTo>
                  <a:pt x="6753677" y="4781779"/>
                </a:lnTo>
                <a:cubicBezTo>
                  <a:pt x="6772976" y="4801237"/>
                  <a:pt x="6799158" y="4812172"/>
                  <a:pt x="6826459" y="4812172"/>
                </a:cubicBezTo>
                <a:lnTo>
                  <a:pt x="7778851" y="4812172"/>
                </a:lnTo>
                <a:cubicBezTo>
                  <a:pt x="7835689" y="4812172"/>
                  <a:pt x="7881780" y="4765732"/>
                  <a:pt x="7881780" y="4708431"/>
                </a:cubicBezTo>
                <a:lnTo>
                  <a:pt x="7881780" y="3809376"/>
                </a:lnTo>
                <a:cubicBezTo>
                  <a:pt x="7881780" y="3752088"/>
                  <a:pt x="7835689" y="3705634"/>
                  <a:pt x="7778851" y="3705634"/>
                </a:cubicBezTo>
                <a:lnTo>
                  <a:pt x="7375444" y="3705634"/>
                </a:lnTo>
                <a:cubicBezTo>
                  <a:pt x="7348144" y="3705634"/>
                  <a:pt x="7321961" y="3694714"/>
                  <a:pt x="7302662" y="3675241"/>
                </a:cubicBezTo>
                <a:lnTo>
                  <a:pt x="6430661" y="2796429"/>
                </a:lnTo>
                <a:cubicBezTo>
                  <a:pt x="6409053" y="2774647"/>
                  <a:pt x="6424344" y="2737399"/>
                  <a:pt x="6454926" y="2737399"/>
                </a:cubicBezTo>
                <a:lnTo>
                  <a:pt x="7367109" y="2737399"/>
                </a:lnTo>
                <a:cubicBezTo>
                  <a:pt x="7423960" y="2737399"/>
                  <a:pt x="7470052" y="2690959"/>
                  <a:pt x="7470052" y="2633658"/>
                </a:cubicBezTo>
                <a:lnTo>
                  <a:pt x="7470052" y="2149569"/>
                </a:lnTo>
                <a:cubicBezTo>
                  <a:pt x="7470052" y="2092267"/>
                  <a:pt x="7423960" y="2045827"/>
                  <a:pt x="7367109" y="2045827"/>
                </a:cubicBezTo>
                <a:lnTo>
                  <a:pt x="6551973" y="2045827"/>
                </a:lnTo>
                <a:cubicBezTo>
                  <a:pt x="6524673" y="2045827"/>
                  <a:pt x="6498491" y="2056747"/>
                  <a:pt x="6479192" y="2076221"/>
                </a:cubicBezTo>
                <a:lnTo>
                  <a:pt x="5607205" y="2955033"/>
                </a:lnTo>
                <a:cubicBezTo>
                  <a:pt x="5585596" y="2976815"/>
                  <a:pt x="5548625" y="2961393"/>
                  <a:pt x="5548625" y="2930578"/>
                </a:cubicBezTo>
                <a:lnTo>
                  <a:pt x="5548625" y="2149569"/>
                </a:lnTo>
                <a:cubicBezTo>
                  <a:pt x="5548625" y="2092267"/>
                  <a:pt x="5502548" y="2045827"/>
                  <a:pt x="5445696" y="2045827"/>
                </a:cubicBezTo>
                <a:close/>
                <a:moveTo>
                  <a:pt x="710728" y="2045827"/>
                </a:moveTo>
                <a:cubicBezTo>
                  <a:pt x="653877" y="2045827"/>
                  <a:pt x="607785" y="2092267"/>
                  <a:pt x="607785" y="2149569"/>
                </a:cubicBezTo>
                <a:lnTo>
                  <a:pt x="607785" y="3325258"/>
                </a:lnTo>
                <a:cubicBezTo>
                  <a:pt x="607785" y="3382560"/>
                  <a:pt x="653877" y="3429000"/>
                  <a:pt x="710728" y="3429000"/>
                </a:cubicBezTo>
                <a:lnTo>
                  <a:pt x="2494913" y="3429000"/>
                </a:lnTo>
                <a:cubicBezTo>
                  <a:pt x="2513863" y="3429000"/>
                  <a:pt x="2529227" y="3444480"/>
                  <a:pt x="2529227" y="3463575"/>
                </a:cubicBezTo>
                <a:lnTo>
                  <a:pt x="2529227" y="4362645"/>
                </a:lnTo>
                <a:cubicBezTo>
                  <a:pt x="2529227" y="4381740"/>
                  <a:pt x="2513863" y="4397220"/>
                  <a:pt x="2494913" y="4397220"/>
                </a:cubicBezTo>
                <a:lnTo>
                  <a:pt x="1465570" y="4397220"/>
                </a:lnTo>
                <a:cubicBezTo>
                  <a:pt x="1446620" y="4397220"/>
                  <a:pt x="1431256" y="4381740"/>
                  <a:pt x="1431256" y="4362645"/>
                </a:cubicBezTo>
                <a:lnTo>
                  <a:pt x="1431256" y="3809376"/>
                </a:lnTo>
                <a:cubicBezTo>
                  <a:pt x="1431256" y="3752088"/>
                  <a:pt x="1385180" y="3705634"/>
                  <a:pt x="1328328" y="3705634"/>
                </a:cubicBezTo>
                <a:lnTo>
                  <a:pt x="298986" y="3705634"/>
                </a:lnTo>
                <a:cubicBezTo>
                  <a:pt x="242148" y="3705634"/>
                  <a:pt x="196057" y="3752088"/>
                  <a:pt x="196057" y="3809376"/>
                </a:cubicBezTo>
                <a:lnTo>
                  <a:pt x="196057" y="4708431"/>
                </a:lnTo>
                <a:cubicBezTo>
                  <a:pt x="196057" y="4765732"/>
                  <a:pt x="242148" y="4812172"/>
                  <a:pt x="298986" y="4812172"/>
                </a:cubicBezTo>
                <a:lnTo>
                  <a:pt x="3661498" y="4812172"/>
                </a:lnTo>
                <a:cubicBezTo>
                  <a:pt x="3718349" y="4812172"/>
                  <a:pt x="3764426" y="4765732"/>
                  <a:pt x="3764426" y="4708431"/>
                </a:cubicBezTo>
                <a:lnTo>
                  <a:pt x="3764426" y="3117790"/>
                </a:lnTo>
                <a:cubicBezTo>
                  <a:pt x="3764426" y="3060502"/>
                  <a:pt x="3718349" y="3014048"/>
                  <a:pt x="3661498" y="3014048"/>
                </a:cubicBezTo>
                <a:lnTo>
                  <a:pt x="1602813" y="3014048"/>
                </a:lnTo>
                <a:cubicBezTo>
                  <a:pt x="1583863" y="3014048"/>
                  <a:pt x="1568513" y="2998568"/>
                  <a:pt x="1568513" y="2979472"/>
                </a:cubicBezTo>
                <a:lnTo>
                  <a:pt x="1568513" y="2495355"/>
                </a:lnTo>
                <a:cubicBezTo>
                  <a:pt x="1568513" y="2476259"/>
                  <a:pt x="1583863" y="2460779"/>
                  <a:pt x="1602813" y="2460779"/>
                </a:cubicBezTo>
                <a:lnTo>
                  <a:pt x="2357670" y="2460779"/>
                </a:lnTo>
                <a:cubicBezTo>
                  <a:pt x="2376621" y="2460764"/>
                  <a:pt x="2391984" y="2476244"/>
                  <a:pt x="2391984" y="2495340"/>
                </a:cubicBezTo>
                <a:lnTo>
                  <a:pt x="2391984" y="2633672"/>
                </a:lnTo>
                <a:cubicBezTo>
                  <a:pt x="2391984" y="2690974"/>
                  <a:pt x="2438061" y="2737413"/>
                  <a:pt x="2494913" y="2737413"/>
                </a:cubicBezTo>
                <a:lnTo>
                  <a:pt x="3249755" y="2737413"/>
                </a:lnTo>
                <a:cubicBezTo>
                  <a:pt x="3306607" y="2737413"/>
                  <a:pt x="3352698" y="2690974"/>
                  <a:pt x="3352698" y="2633672"/>
                </a:cubicBezTo>
                <a:lnTo>
                  <a:pt x="3352698" y="2149569"/>
                </a:lnTo>
                <a:cubicBezTo>
                  <a:pt x="3352698" y="2092267"/>
                  <a:pt x="3306607" y="2045827"/>
                  <a:pt x="3249755" y="204582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tIns="0" bIns="360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CFE7-D391-398C-1C33-953CBB8A179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891CF-20B6-0EB1-1074-AB87235D15B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812492-44A1-BE39-BFCD-FA4FA99EBFA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3875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9DC9A-405D-2BD5-A75B-0ACC7044B2B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64192"/>
            <a:ext cx="5830887" cy="2191783"/>
          </a:xfrm>
        </p:spPr>
        <p:txBody>
          <a:bodyPr anchor="t" anchorCtr="0">
            <a:noAutofit/>
          </a:bodyPr>
          <a:lstStyle>
            <a:lvl1pPr>
              <a:defRPr sz="4000" spc="-5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C98940-A911-D289-ACE5-D7D7EA0734DD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15A74A-B1B2-7DF6-2A75-5F00971361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5D74F1-F37E-469E-EB95-54C2267ED7BB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C5C29A2-5AB4-E01D-E895-1DC43038A8BA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193675" y="1152569"/>
            <a:ext cx="1180306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7625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483552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3499200"/>
            <a:ext cx="483552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116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½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6165850" y="0"/>
            <a:ext cx="602615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483552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483552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422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6165850" y="2398713"/>
            <a:ext cx="5830888" cy="426243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483552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483552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5048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our row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193676" y="4603751"/>
            <a:ext cx="2843213" cy="205739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5" y="1152525"/>
            <a:ext cx="5830887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161213" y="1152526"/>
            <a:ext cx="4835525" cy="2203450"/>
          </a:xfrm>
        </p:spPr>
        <p:txBody>
          <a:bodyPr tIns="936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C4036DC-9E2D-2425-3617-510F34DE85B3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3188340" y="4603751"/>
            <a:ext cx="2843213" cy="205739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D7EA61AB-0EFB-4B71-9F26-71E1CD6D0CE0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9"/>
            </p:custDataLst>
          </p:nvPr>
        </p:nvSpPr>
        <p:spPr>
          <a:xfrm>
            <a:off x="6167437" y="4603751"/>
            <a:ext cx="2843213" cy="205739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1F87785A-7342-21FA-E4D0-EFFF1F15B40C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10"/>
            </p:custDataLst>
          </p:nvPr>
        </p:nvSpPr>
        <p:spPr>
          <a:xfrm>
            <a:off x="9160515" y="4603751"/>
            <a:ext cx="2843213" cy="205739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2170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5170488" y="1296988"/>
            <a:ext cx="6826250" cy="53641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483552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483552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1513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175125" y="195264"/>
            <a:ext cx="7821613" cy="646588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0624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175125" y="3500438"/>
            <a:ext cx="782161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4175125" y="195261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E814BE38-B7A1-8CF9-CFBF-5FE90A6AD6E3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9"/>
            </p:custDataLst>
          </p:nvPr>
        </p:nvSpPr>
        <p:spPr>
          <a:xfrm>
            <a:off x="8156575" y="195261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8498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175125" y="3500438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4175125" y="195261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E814BE38-B7A1-8CF9-CFBF-5FE90A6AD6E3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9"/>
            </p:custDataLst>
          </p:nvPr>
        </p:nvSpPr>
        <p:spPr>
          <a:xfrm>
            <a:off x="8156575" y="195261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10"/>
            </p:custDataLst>
          </p:nvPr>
        </p:nvSpPr>
        <p:spPr>
          <a:xfrm>
            <a:off x="8156575" y="3500438"/>
            <a:ext cx="3840163" cy="316071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8314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8156578" y="195264"/>
            <a:ext cx="3840160" cy="646588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5" y="1152525"/>
            <a:ext cx="5830887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2739A07-2DF5-0FA5-2629-0458979F7538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8"/>
            </p:custDataLst>
          </p:nvPr>
        </p:nvSpPr>
        <p:spPr>
          <a:xfrm>
            <a:off x="4178875" y="3499200"/>
            <a:ext cx="3836413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1846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mall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CFE7-D391-398C-1C33-953CBB8A179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891CF-20B6-0EB1-1074-AB87235D15B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812492-44A1-BE39-BFCD-FA4FA99EBFA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02B8758-CD4A-41DB-58B3-FBA91C09352F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4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072344 w 12192000"/>
              <a:gd name="connsiteY0" fmla="*/ 195264 h 6858000"/>
              <a:gd name="connsiteX1" fmla="*/ 3036727 w 12192000"/>
              <a:gd name="connsiteY1" fmla="*/ 231163 h 6858000"/>
              <a:gd name="connsiteX2" fmla="*/ 3036727 w 12192000"/>
              <a:gd name="connsiteY2" fmla="*/ 398681 h 6858000"/>
              <a:gd name="connsiteX3" fmla="*/ 3072344 w 12192000"/>
              <a:gd name="connsiteY3" fmla="*/ 434580 h 6858000"/>
              <a:gd name="connsiteX4" fmla="*/ 3119835 w 12192000"/>
              <a:gd name="connsiteY4" fmla="*/ 434580 h 6858000"/>
              <a:gd name="connsiteX5" fmla="*/ 3131710 w 12192000"/>
              <a:gd name="connsiteY5" fmla="*/ 446544 h 6858000"/>
              <a:gd name="connsiteX6" fmla="*/ 3131710 w 12192000"/>
              <a:gd name="connsiteY6" fmla="*/ 757657 h 6858000"/>
              <a:gd name="connsiteX7" fmla="*/ 3119835 w 12192000"/>
              <a:gd name="connsiteY7" fmla="*/ 769621 h 6858000"/>
              <a:gd name="connsiteX8" fmla="*/ 3072344 w 12192000"/>
              <a:gd name="connsiteY8" fmla="*/ 769621 h 6858000"/>
              <a:gd name="connsiteX9" fmla="*/ 3036727 w 12192000"/>
              <a:gd name="connsiteY9" fmla="*/ 805520 h 6858000"/>
              <a:gd name="connsiteX10" fmla="*/ 3036727 w 12192000"/>
              <a:gd name="connsiteY10" fmla="*/ 1116628 h 6858000"/>
              <a:gd name="connsiteX11" fmla="*/ 3072344 w 12192000"/>
              <a:gd name="connsiteY11" fmla="*/ 1152526 h 6858000"/>
              <a:gd name="connsiteX12" fmla="*/ 3523519 w 12192000"/>
              <a:gd name="connsiteY12" fmla="*/ 1152526 h 6858000"/>
              <a:gd name="connsiteX13" fmla="*/ 3559141 w 12192000"/>
              <a:gd name="connsiteY13" fmla="*/ 1116628 h 6858000"/>
              <a:gd name="connsiteX14" fmla="*/ 3559141 w 12192000"/>
              <a:gd name="connsiteY14" fmla="*/ 805520 h 6858000"/>
              <a:gd name="connsiteX15" fmla="*/ 3523519 w 12192000"/>
              <a:gd name="connsiteY15" fmla="*/ 769621 h 6858000"/>
              <a:gd name="connsiteX16" fmla="*/ 3476028 w 12192000"/>
              <a:gd name="connsiteY16" fmla="*/ 769621 h 6858000"/>
              <a:gd name="connsiteX17" fmla="*/ 3464154 w 12192000"/>
              <a:gd name="connsiteY17" fmla="*/ 757657 h 6858000"/>
              <a:gd name="connsiteX18" fmla="*/ 3464154 w 12192000"/>
              <a:gd name="connsiteY18" fmla="*/ 685860 h 6858000"/>
              <a:gd name="connsiteX19" fmla="*/ 3476028 w 12192000"/>
              <a:gd name="connsiteY19" fmla="*/ 673895 h 6858000"/>
              <a:gd name="connsiteX20" fmla="*/ 3594758 w 12192000"/>
              <a:gd name="connsiteY20" fmla="*/ 673895 h 6858000"/>
              <a:gd name="connsiteX21" fmla="*/ 3606632 w 12192000"/>
              <a:gd name="connsiteY21" fmla="*/ 685588 h 6858000"/>
              <a:gd name="connsiteX22" fmla="*/ 3642250 w 12192000"/>
              <a:gd name="connsiteY22" fmla="*/ 721758 h 6858000"/>
              <a:gd name="connsiteX23" fmla="*/ 3903459 w 12192000"/>
              <a:gd name="connsiteY23" fmla="*/ 721758 h 6858000"/>
              <a:gd name="connsiteX24" fmla="*/ 3939076 w 12192000"/>
              <a:gd name="connsiteY24" fmla="*/ 685860 h 6858000"/>
              <a:gd name="connsiteX25" fmla="*/ 3939076 w 12192000"/>
              <a:gd name="connsiteY25" fmla="*/ 518341 h 6858000"/>
              <a:gd name="connsiteX26" fmla="*/ 3903459 w 12192000"/>
              <a:gd name="connsiteY26" fmla="*/ 482443 h 6858000"/>
              <a:gd name="connsiteX27" fmla="*/ 3642250 w 12192000"/>
              <a:gd name="connsiteY27" fmla="*/ 482443 h 6858000"/>
              <a:gd name="connsiteX28" fmla="*/ 3606632 w 12192000"/>
              <a:gd name="connsiteY28" fmla="*/ 518613 h 6858000"/>
              <a:gd name="connsiteX29" fmla="*/ 3594758 w 12192000"/>
              <a:gd name="connsiteY29" fmla="*/ 530306 h 6858000"/>
              <a:gd name="connsiteX30" fmla="*/ 3476028 w 12192000"/>
              <a:gd name="connsiteY30" fmla="*/ 530306 h 6858000"/>
              <a:gd name="connsiteX31" fmla="*/ 3464154 w 12192000"/>
              <a:gd name="connsiteY31" fmla="*/ 518341 h 6858000"/>
              <a:gd name="connsiteX32" fmla="*/ 3464154 w 12192000"/>
              <a:gd name="connsiteY32" fmla="*/ 350818 h 6858000"/>
              <a:gd name="connsiteX33" fmla="*/ 3476028 w 12192000"/>
              <a:gd name="connsiteY33" fmla="*/ 338853 h 6858000"/>
              <a:gd name="connsiteX34" fmla="*/ 3832220 w 12192000"/>
              <a:gd name="connsiteY34" fmla="*/ 338853 h 6858000"/>
              <a:gd name="connsiteX35" fmla="*/ 3844094 w 12192000"/>
              <a:gd name="connsiteY35" fmla="*/ 350818 h 6858000"/>
              <a:gd name="connsiteX36" fmla="*/ 3844094 w 12192000"/>
              <a:gd name="connsiteY36" fmla="*/ 398681 h 6858000"/>
              <a:gd name="connsiteX37" fmla="*/ 3879711 w 12192000"/>
              <a:gd name="connsiteY37" fmla="*/ 434580 h 6858000"/>
              <a:gd name="connsiteX38" fmla="*/ 4235903 w 12192000"/>
              <a:gd name="connsiteY38" fmla="*/ 434580 h 6858000"/>
              <a:gd name="connsiteX39" fmla="*/ 4271520 w 12192000"/>
              <a:gd name="connsiteY39" fmla="*/ 398681 h 6858000"/>
              <a:gd name="connsiteX40" fmla="*/ 4271520 w 12192000"/>
              <a:gd name="connsiteY40" fmla="*/ 231163 h 6858000"/>
              <a:gd name="connsiteX41" fmla="*/ 4235903 w 12192000"/>
              <a:gd name="connsiteY41" fmla="*/ 195264 h 6858000"/>
              <a:gd name="connsiteX42" fmla="*/ 1647586 w 12192000"/>
              <a:gd name="connsiteY42" fmla="*/ 195264 h 6858000"/>
              <a:gd name="connsiteX43" fmla="*/ 1611969 w 12192000"/>
              <a:gd name="connsiteY43" fmla="*/ 231163 h 6858000"/>
              <a:gd name="connsiteX44" fmla="*/ 1611969 w 12192000"/>
              <a:gd name="connsiteY44" fmla="*/ 398681 h 6858000"/>
              <a:gd name="connsiteX45" fmla="*/ 1647586 w 12192000"/>
              <a:gd name="connsiteY45" fmla="*/ 434580 h 6858000"/>
              <a:gd name="connsiteX46" fmla="*/ 1695077 w 12192000"/>
              <a:gd name="connsiteY46" fmla="*/ 434580 h 6858000"/>
              <a:gd name="connsiteX47" fmla="*/ 1706951 w 12192000"/>
              <a:gd name="connsiteY47" fmla="*/ 446544 h 6858000"/>
              <a:gd name="connsiteX48" fmla="*/ 1706951 w 12192000"/>
              <a:gd name="connsiteY48" fmla="*/ 757657 h 6858000"/>
              <a:gd name="connsiteX49" fmla="*/ 1695077 w 12192000"/>
              <a:gd name="connsiteY49" fmla="*/ 769621 h 6858000"/>
              <a:gd name="connsiteX50" fmla="*/ 1647586 w 12192000"/>
              <a:gd name="connsiteY50" fmla="*/ 769621 h 6858000"/>
              <a:gd name="connsiteX51" fmla="*/ 1611969 w 12192000"/>
              <a:gd name="connsiteY51" fmla="*/ 805520 h 6858000"/>
              <a:gd name="connsiteX52" fmla="*/ 1611969 w 12192000"/>
              <a:gd name="connsiteY52" fmla="*/ 1116628 h 6858000"/>
              <a:gd name="connsiteX53" fmla="*/ 1647586 w 12192000"/>
              <a:gd name="connsiteY53" fmla="*/ 1152526 h 6858000"/>
              <a:gd name="connsiteX54" fmla="*/ 2003778 w 12192000"/>
              <a:gd name="connsiteY54" fmla="*/ 1152526 h 6858000"/>
              <a:gd name="connsiteX55" fmla="*/ 2039395 w 12192000"/>
              <a:gd name="connsiteY55" fmla="*/ 1116628 h 6858000"/>
              <a:gd name="connsiteX56" fmla="*/ 2039395 w 12192000"/>
              <a:gd name="connsiteY56" fmla="*/ 750642 h 6858000"/>
              <a:gd name="connsiteX57" fmla="*/ 2059666 w 12192000"/>
              <a:gd name="connsiteY57" fmla="*/ 742180 h 6858000"/>
              <a:gd name="connsiteX58" fmla="*/ 2456390 w 12192000"/>
              <a:gd name="connsiteY58" fmla="*/ 1142009 h 6858000"/>
              <a:gd name="connsiteX59" fmla="*/ 2481575 w 12192000"/>
              <a:gd name="connsiteY59" fmla="*/ 1152526 h 6858000"/>
              <a:gd name="connsiteX60" fmla="*/ 2811140 w 12192000"/>
              <a:gd name="connsiteY60" fmla="*/ 1152526 h 6858000"/>
              <a:gd name="connsiteX61" fmla="*/ 2846757 w 12192000"/>
              <a:gd name="connsiteY61" fmla="*/ 1116628 h 6858000"/>
              <a:gd name="connsiteX62" fmla="*/ 2846757 w 12192000"/>
              <a:gd name="connsiteY62" fmla="*/ 805520 h 6858000"/>
              <a:gd name="connsiteX63" fmla="*/ 2811140 w 12192000"/>
              <a:gd name="connsiteY63" fmla="*/ 769621 h 6858000"/>
              <a:gd name="connsiteX64" fmla="*/ 2671545 w 12192000"/>
              <a:gd name="connsiteY64" fmla="*/ 769621 h 6858000"/>
              <a:gd name="connsiteX65" fmla="*/ 2646360 w 12192000"/>
              <a:gd name="connsiteY65" fmla="*/ 759104 h 6858000"/>
              <a:gd name="connsiteX66" fmla="*/ 2344614 w 12192000"/>
              <a:gd name="connsiteY66" fmla="*/ 455001 h 6858000"/>
              <a:gd name="connsiteX67" fmla="*/ 2353011 w 12192000"/>
              <a:gd name="connsiteY67" fmla="*/ 434575 h 6858000"/>
              <a:gd name="connsiteX68" fmla="*/ 2668661 w 12192000"/>
              <a:gd name="connsiteY68" fmla="*/ 434575 h 6858000"/>
              <a:gd name="connsiteX69" fmla="*/ 2704283 w 12192000"/>
              <a:gd name="connsiteY69" fmla="*/ 398676 h 6858000"/>
              <a:gd name="connsiteX70" fmla="*/ 2704283 w 12192000"/>
              <a:gd name="connsiteY70" fmla="*/ 231163 h 6858000"/>
              <a:gd name="connsiteX71" fmla="*/ 2668661 w 12192000"/>
              <a:gd name="connsiteY71" fmla="*/ 195264 h 6858000"/>
              <a:gd name="connsiteX72" fmla="*/ 2386593 w 12192000"/>
              <a:gd name="connsiteY72" fmla="*/ 195264 h 6858000"/>
              <a:gd name="connsiteX73" fmla="*/ 2361407 w 12192000"/>
              <a:gd name="connsiteY73" fmla="*/ 205781 h 6858000"/>
              <a:gd name="connsiteX74" fmla="*/ 2059666 w 12192000"/>
              <a:gd name="connsiteY74" fmla="*/ 509884 h 6858000"/>
              <a:gd name="connsiteX75" fmla="*/ 2039395 w 12192000"/>
              <a:gd name="connsiteY75" fmla="*/ 501422 h 6858000"/>
              <a:gd name="connsiteX76" fmla="*/ 2039395 w 12192000"/>
              <a:gd name="connsiteY76" fmla="*/ 231163 h 6858000"/>
              <a:gd name="connsiteX77" fmla="*/ 2003778 w 12192000"/>
              <a:gd name="connsiteY77" fmla="*/ 195264 h 6858000"/>
              <a:gd name="connsiteX78" fmla="*/ 365296 w 12192000"/>
              <a:gd name="connsiteY78" fmla="*/ 195264 h 6858000"/>
              <a:gd name="connsiteX79" fmla="*/ 329674 w 12192000"/>
              <a:gd name="connsiteY79" fmla="*/ 231163 h 6858000"/>
              <a:gd name="connsiteX80" fmla="*/ 329674 w 12192000"/>
              <a:gd name="connsiteY80" fmla="*/ 637997 h 6858000"/>
              <a:gd name="connsiteX81" fmla="*/ 365296 w 12192000"/>
              <a:gd name="connsiteY81" fmla="*/ 673895 h 6858000"/>
              <a:gd name="connsiteX82" fmla="*/ 982693 w 12192000"/>
              <a:gd name="connsiteY82" fmla="*/ 673895 h 6858000"/>
              <a:gd name="connsiteX83" fmla="*/ 994567 w 12192000"/>
              <a:gd name="connsiteY83" fmla="*/ 685860 h 6858000"/>
              <a:gd name="connsiteX84" fmla="*/ 994567 w 12192000"/>
              <a:gd name="connsiteY84" fmla="*/ 996972 h 6858000"/>
              <a:gd name="connsiteX85" fmla="*/ 982693 w 12192000"/>
              <a:gd name="connsiteY85" fmla="*/ 1008937 h 6858000"/>
              <a:gd name="connsiteX86" fmla="*/ 626501 w 12192000"/>
              <a:gd name="connsiteY86" fmla="*/ 1008937 h 6858000"/>
              <a:gd name="connsiteX87" fmla="*/ 614627 w 12192000"/>
              <a:gd name="connsiteY87" fmla="*/ 996972 h 6858000"/>
              <a:gd name="connsiteX88" fmla="*/ 614627 w 12192000"/>
              <a:gd name="connsiteY88" fmla="*/ 805520 h 6858000"/>
              <a:gd name="connsiteX89" fmla="*/ 579010 w 12192000"/>
              <a:gd name="connsiteY89" fmla="*/ 769621 h 6858000"/>
              <a:gd name="connsiteX90" fmla="*/ 222817 w 12192000"/>
              <a:gd name="connsiteY90" fmla="*/ 769621 h 6858000"/>
              <a:gd name="connsiteX91" fmla="*/ 187200 w 12192000"/>
              <a:gd name="connsiteY91" fmla="*/ 805520 h 6858000"/>
              <a:gd name="connsiteX92" fmla="*/ 187200 w 12192000"/>
              <a:gd name="connsiteY92" fmla="*/ 1116628 h 6858000"/>
              <a:gd name="connsiteX93" fmla="*/ 222817 w 12192000"/>
              <a:gd name="connsiteY93" fmla="*/ 1152526 h 6858000"/>
              <a:gd name="connsiteX94" fmla="*/ 1386376 w 12192000"/>
              <a:gd name="connsiteY94" fmla="*/ 1152526 h 6858000"/>
              <a:gd name="connsiteX95" fmla="*/ 1421994 w 12192000"/>
              <a:gd name="connsiteY95" fmla="*/ 1116628 h 6858000"/>
              <a:gd name="connsiteX96" fmla="*/ 1421994 w 12192000"/>
              <a:gd name="connsiteY96" fmla="*/ 566204 h 6858000"/>
              <a:gd name="connsiteX97" fmla="*/ 1386376 w 12192000"/>
              <a:gd name="connsiteY97" fmla="*/ 530306 h 6858000"/>
              <a:gd name="connsiteX98" fmla="*/ 673992 w 12192000"/>
              <a:gd name="connsiteY98" fmla="*/ 530306 h 6858000"/>
              <a:gd name="connsiteX99" fmla="*/ 662123 w 12192000"/>
              <a:gd name="connsiteY99" fmla="*/ 518341 h 6858000"/>
              <a:gd name="connsiteX100" fmla="*/ 662123 w 12192000"/>
              <a:gd name="connsiteY100" fmla="*/ 350818 h 6858000"/>
              <a:gd name="connsiteX101" fmla="*/ 673992 w 12192000"/>
              <a:gd name="connsiteY101" fmla="*/ 338853 h 6858000"/>
              <a:gd name="connsiteX102" fmla="*/ 935202 w 12192000"/>
              <a:gd name="connsiteY102" fmla="*/ 338853 h 6858000"/>
              <a:gd name="connsiteX103" fmla="*/ 947076 w 12192000"/>
              <a:gd name="connsiteY103" fmla="*/ 350813 h 6858000"/>
              <a:gd name="connsiteX104" fmla="*/ 947076 w 12192000"/>
              <a:gd name="connsiteY104" fmla="*/ 398681 h 6858000"/>
              <a:gd name="connsiteX105" fmla="*/ 982693 w 12192000"/>
              <a:gd name="connsiteY105" fmla="*/ 434580 h 6858000"/>
              <a:gd name="connsiteX106" fmla="*/ 1243897 w 12192000"/>
              <a:gd name="connsiteY106" fmla="*/ 434580 h 6858000"/>
              <a:gd name="connsiteX107" fmla="*/ 1279520 w 12192000"/>
              <a:gd name="connsiteY107" fmla="*/ 398681 h 6858000"/>
              <a:gd name="connsiteX108" fmla="*/ 1279520 w 12192000"/>
              <a:gd name="connsiteY108" fmla="*/ 231163 h 6858000"/>
              <a:gd name="connsiteX109" fmla="*/ 1243897 w 12192000"/>
              <a:gd name="connsiteY109" fmla="*/ 195264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3072344" y="195264"/>
                </a:moveTo>
                <a:cubicBezTo>
                  <a:pt x="3052676" y="195264"/>
                  <a:pt x="3036727" y="211334"/>
                  <a:pt x="3036727" y="231163"/>
                </a:cubicBezTo>
                <a:lnTo>
                  <a:pt x="3036727" y="398681"/>
                </a:lnTo>
                <a:cubicBezTo>
                  <a:pt x="3036727" y="418510"/>
                  <a:pt x="3052676" y="434580"/>
                  <a:pt x="3072344" y="434580"/>
                </a:cubicBezTo>
                <a:lnTo>
                  <a:pt x="3119835" y="434580"/>
                </a:lnTo>
                <a:cubicBezTo>
                  <a:pt x="3126398" y="434580"/>
                  <a:pt x="3131710" y="439936"/>
                  <a:pt x="3131710" y="446544"/>
                </a:cubicBezTo>
                <a:lnTo>
                  <a:pt x="3131710" y="757657"/>
                </a:lnTo>
                <a:cubicBezTo>
                  <a:pt x="3131710" y="764265"/>
                  <a:pt x="3126398" y="769621"/>
                  <a:pt x="3119835" y="769621"/>
                </a:cubicBezTo>
                <a:lnTo>
                  <a:pt x="3072344" y="769621"/>
                </a:lnTo>
                <a:cubicBezTo>
                  <a:pt x="3052676" y="769621"/>
                  <a:pt x="3036727" y="785696"/>
                  <a:pt x="3036727" y="805520"/>
                </a:cubicBezTo>
                <a:lnTo>
                  <a:pt x="3036727" y="1116628"/>
                </a:lnTo>
                <a:cubicBezTo>
                  <a:pt x="3036727" y="1136456"/>
                  <a:pt x="3052676" y="1152526"/>
                  <a:pt x="3072344" y="1152526"/>
                </a:cubicBezTo>
                <a:lnTo>
                  <a:pt x="3523519" y="1152526"/>
                </a:lnTo>
                <a:cubicBezTo>
                  <a:pt x="3543192" y="1152526"/>
                  <a:pt x="3559141" y="1136456"/>
                  <a:pt x="3559141" y="1116628"/>
                </a:cubicBezTo>
                <a:lnTo>
                  <a:pt x="3559141" y="805520"/>
                </a:lnTo>
                <a:cubicBezTo>
                  <a:pt x="3559141" y="785696"/>
                  <a:pt x="3543192" y="769621"/>
                  <a:pt x="3523519" y="769621"/>
                </a:cubicBezTo>
                <a:lnTo>
                  <a:pt x="3476028" y="769621"/>
                </a:lnTo>
                <a:cubicBezTo>
                  <a:pt x="3469470" y="769621"/>
                  <a:pt x="3464154" y="764265"/>
                  <a:pt x="3464154" y="757657"/>
                </a:cubicBezTo>
                <a:lnTo>
                  <a:pt x="3464154" y="685860"/>
                </a:lnTo>
                <a:cubicBezTo>
                  <a:pt x="3464154" y="679252"/>
                  <a:pt x="3469470" y="673895"/>
                  <a:pt x="3476028" y="673895"/>
                </a:cubicBezTo>
                <a:lnTo>
                  <a:pt x="3594758" y="673895"/>
                </a:lnTo>
                <a:cubicBezTo>
                  <a:pt x="3601226" y="673895"/>
                  <a:pt x="3606678" y="679071"/>
                  <a:pt x="3606632" y="685588"/>
                </a:cubicBezTo>
                <a:cubicBezTo>
                  <a:pt x="3606481" y="705532"/>
                  <a:pt x="3622486" y="721758"/>
                  <a:pt x="3642250" y="721758"/>
                </a:cubicBezTo>
                <a:lnTo>
                  <a:pt x="3903459" y="721758"/>
                </a:lnTo>
                <a:cubicBezTo>
                  <a:pt x="3923127" y="721758"/>
                  <a:pt x="3939076" y="705688"/>
                  <a:pt x="3939076" y="685860"/>
                </a:cubicBezTo>
                <a:lnTo>
                  <a:pt x="3939076" y="518341"/>
                </a:lnTo>
                <a:cubicBezTo>
                  <a:pt x="3939076" y="498513"/>
                  <a:pt x="3923127" y="482443"/>
                  <a:pt x="3903459" y="482443"/>
                </a:cubicBezTo>
                <a:lnTo>
                  <a:pt x="3642250" y="482443"/>
                </a:lnTo>
                <a:cubicBezTo>
                  <a:pt x="3622486" y="482443"/>
                  <a:pt x="3606481" y="498663"/>
                  <a:pt x="3606632" y="518613"/>
                </a:cubicBezTo>
                <a:cubicBezTo>
                  <a:pt x="3606678" y="525130"/>
                  <a:pt x="3601226" y="530306"/>
                  <a:pt x="3594758" y="530306"/>
                </a:cubicBezTo>
                <a:lnTo>
                  <a:pt x="3476028" y="530306"/>
                </a:lnTo>
                <a:cubicBezTo>
                  <a:pt x="3469470" y="530306"/>
                  <a:pt x="3464154" y="524949"/>
                  <a:pt x="3464154" y="518341"/>
                </a:cubicBezTo>
                <a:lnTo>
                  <a:pt x="3464154" y="350818"/>
                </a:lnTo>
                <a:cubicBezTo>
                  <a:pt x="3464154" y="344210"/>
                  <a:pt x="3469470" y="338853"/>
                  <a:pt x="3476028" y="338853"/>
                </a:cubicBezTo>
                <a:lnTo>
                  <a:pt x="3832220" y="338853"/>
                </a:lnTo>
                <a:cubicBezTo>
                  <a:pt x="3838777" y="338853"/>
                  <a:pt x="3844094" y="344210"/>
                  <a:pt x="3844094" y="350818"/>
                </a:cubicBezTo>
                <a:lnTo>
                  <a:pt x="3844094" y="398681"/>
                </a:lnTo>
                <a:cubicBezTo>
                  <a:pt x="3844094" y="418510"/>
                  <a:pt x="3860038" y="434580"/>
                  <a:pt x="3879711" y="434580"/>
                </a:cubicBezTo>
                <a:lnTo>
                  <a:pt x="4235903" y="434580"/>
                </a:lnTo>
                <a:cubicBezTo>
                  <a:pt x="4255571" y="434580"/>
                  <a:pt x="4271520" y="418510"/>
                  <a:pt x="4271520" y="398681"/>
                </a:cubicBezTo>
                <a:lnTo>
                  <a:pt x="4271520" y="231163"/>
                </a:lnTo>
                <a:cubicBezTo>
                  <a:pt x="4271520" y="211334"/>
                  <a:pt x="4255571" y="195264"/>
                  <a:pt x="4235903" y="195264"/>
                </a:cubicBezTo>
                <a:close/>
                <a:moveTo>
                  <a:pt x="1647586" y="195264"/>
                </a:moveTo>
                <a:cubicBezTo>
                  <a:pt x="1627918" y="195264"/>
                  <a:pt x="1611969" y="211334"/>
                  <a:pt x="1611969" y="231163"/>
                </a:cubicBezTo>
                <a:lnTo>
                  <a:pt x="1611969" y="398681"/>
                </a:lnTo>
                <a:cubicBezTo>
                  <a:pt x="1611969" y="418510"/>
                  <a:pt x="1627918" y="434580"/>
                  <a:pt x="1647586" y="434580"/>
                </a:cubicBezTo>
                <a:lnTo>
                  <a:pt x="1695077" y="434580"/>
                </a:lnTo>
                <a:cubicBezTo>
                  <a:pt x="1701640" y="434580"/>
                  <a:pt x="1706951" y="439936"/>
                  <a:pt x="1706951" y="446544"/>
                </a:cubicBezTo>
                <a:lnTo>
                  <a:pt x="1706951" y="757657"/>
                </a:lnTo>
                <a:cubicBezTo>
                  <a:pt x="1706951" y="764265"/>
                  <a:pt x="1701640" y="769621"/>
                  <a:pt x="1695077" y="769621"/>
                </a:cubicBezTo>
                <a:lnTo>
                  <a:pt x="1647586" y="769621"/>
                </a:lnTo>
                <a:cubicBezTo>
                  <a:pt x="1627918" y="769621"/>
                  <a:pt x="1611969" y="785696"/>
                  <a:pt x="1611969" y="805520"/>
                </a:cubicBezTo>
                <a:lnTo>
                  <a:pt x="1611969" y="1116628"/>
                </a:lnTo>
                <a:cubicBezTo>
                  <a:pt x="1611969" y="1136456"/>
                  <a:pt x="1627918" y="1152521"/>
                  <a:pt x="1647586" y="1152526"/>
                </a:cubicBezTo>
                <a:lnTo>
                  <a:pt x="2003778" y="1152526"/>
                </a:lnTo>
                <a:cubicBezTo>
                  <a:pt x="2023451" y="1152526"/>
                  <a:pt x="2039395" y="1136456"/>
                  <a:pt x="2039395" y="1116628"/>
                </a:cubicBezTo>
                <a:lnTo>
                  <a:pt x="2039395" y="750642"/>
                </a:lnTo>
                <a:cubicBezTo>
                  <a:pt x="2039395" y="739984"/>
                  <a:pt x="2052189" y="734642"/>
                  <a:pt x="2059666" y="742180"/>
                </a:cubicBezTo>
                <a:lnTo>
                  <a:pt x="2456390" y="1142009"/>
                </a:lnTo>
                <a:cubicBezTo>
                  <a:pt x="2463068" y="1148742"/>
                  <a:pt x="2472128" y="1152526"/>
                  <a:pt x="2481575" y="1152526"/>
                </a:cubicBezTo>
                <a:lnTo>
                  <a:pt x="2811140" y="1152526"/>
                </a:lnTo>
                <a:cubicBezTo>
                  <a:pt x="2830808" y="1152526"/>
                  <a:pt x="2846757" y="1136456"/>
                  <a:pt x="2846757" y="1116628"/>
                </a:cubicBezTo>
                <a:lnTo>
                  <a:pt x="2846757" y="805520"/>
                </a:lnTo>
                <a:cubicBezTo>
                  <a:pt x="2846757" y="785696"/>
                  <a:pt x="2830808" y="769621"/>
                  <a:pt x="2811140" y="769621"/>
                </a:cubicBezTo>
                <a:lnTo>
                  <a:pt x="2671545" y="769621"/>
                </a:lnTo>
                <a:cubicBezTo>
                  <a:pt x="2662098" y="769621"/>
                  <a:pt x="2653038" y="765843"/>
                  <a:pt x="2646360" y="759104"/>
                </a:cubicBezTo>
                <a:lnTo>
                  <a:pt x="2344614" y="455001"/>
                </a:lnTo>
                <a:cubicBezTo>
                  <a:pt x="2337137" y="447464"/>
                  <a:pt x="2342428" y="434575"/>
                  <a:pt x="2353011" y="434575"/>
                </a:cubicBezTo>
                <a:lnTo>
                  <a:pt x="2668661" y="434575"/>
                </a:lnTo>
                <a:cubicBezTo>
                  <a:pt x="2688334" y="434575"/>
                  <a:pt x="2704283" y="418505"/>
                  <a:pt x="2704283" y="398676"/>
                </a:cubicBezTo>
                <a:lnTo>
                  <a:pt x="2704283" y="231163"/>
                </a:lnTo>
                <a:cubicBezTo>
                  <a:pt x="2704283" y="211334"/>
                  <a:pt x="2688334" y="195264"/>
                  <a:pt x="2668661" y="195264"/>
                </a:cubicBezTo>
                <a:lnTo>
                  <a:pt x="2386593" y="195264"/>
                </a:lnTo>
                <a:cubicBezTo>
                  <a:pt x="2377146" y="195264"/>
                  <a:pt x="2368086" y="199043"/>
                  <a:pt x="2361407" y="205781"/>
                </a:cubicBezTo>
                <a:lnTo>
                  <a:pt x="2059666" y="509884"/>
                </a:lnTo>
                <a:cubicBezTo>
                  <a:pt x="2052189" y="517422"/>
                  <a:pt x="2039395" y="512085"/>
                  <a:pt x="2039395" y="501422"/>
                </a:cubicBezTo>
                <a:lnTo>
                  <a:pt x="2039395" y="231163"/>
                </a:lnTo>
                <a:cubicBezTo>
                  <a:pt x="2039395" y="211334"/>
                  <a:pt x="2023451" y="195264"/>
                  <a:pt x="2003778" y="195264"/>
                </a:cubicBezTo>
                <a:close/>
                <a:moveTo>
                  <a:pt x="365296" y="195264"/>
                </a:moveTo>
                <a:cubicBezTo>
                  <a:pt x="345623" y="195264"/>
                  <a:pt x="329674" y="211334"/>
                  <a:pt x="329674" y="231163"/>
                </a:cubicBezTo>
                <a:lnTo>
                  <a:pt x="329674" y="637997"/>
                </a:lnTo>
                <a:cubicBezTo>
                  <a:pt x="329674" y="657825"/>
                  <a:pt x="345623" y="673895"/>
                  <a:pt x="365296" y="673895"/>
                </a:cubicBezTo>
                <a:lnTo>
                  <a:pt x="982693" y="673895"/>
                </a:lnTo>
                <a:cubicBezTo>
                  <a:pt x="989251" y="673895"/>
                  <a:pt x="994567" y="679252"/>
                  <a:pt x="994567" y="685860"/>
                </a:cubicBezTo>
                <a:lnTo>
                  <a:pt x="994567" y="996972"/>
                </a:lnTo>
                <a:cubicBezTo>
                  <a:pt x="994567" y="1003580"/>
                  <a:pt x="989251" y="1008937"/>
                  <a:pt x="982693" y="1008937"/>
                </a:cubicBezTo>
                <a:lnTo>
                  <a:pt x="626501" y="1008937"/>
                </a:lnTo>
                <a:cubicBezTo>
                  <a:pt x="619943" y="1008937"/>
                  <a:pt x="614627" y="1003580"/>
                  <a:pt x="614627" y="996972"/>
                </a:cubicBezTo>
                <a:lnTo>
                  <a:pt x="614627" y="805520"/>
                </a:lnTo>
                <a:cubicBezTo>
                  <a:pt x="614627" y="785696"/>
                  <a:pt x="598682" y="769621"/>
                  <a:pt x="579010" y="769621"/>
                </a:cubicBezTo>
                <a:lnTo>
                  <a:pt x="222817" y="769621"/>
                </a:lnTo>
                <a:cubicBezTo>
                  <a:pt x="203149" y="769621"/>
                  <a:pt x="187200" y="785696"/>
                  <a:pt x="187200" y="805520"/>
                </a:cubicBezTo>
                <a:lnTo>
                  <a:pt x="187200" y="1116628"/>
                </a:lnTo>
                <a:cubicBezTo>
                  <a:pt x="187200" y="1136456"/>
                  <a:pt x="203149" y="1152526"/>
                  <a:pt x="222817" y="1152526"/>
                </a:cubicBezTo>
                <a:lnTo>
                  <a:pt x="1386376" y="1152526"/>
                </a:lnTo>
                <a:cubicBezTo>
                  <a:pt x="1406049" y="1152526"/>
                  <a:pt x="1421994" y="1136456"/>
                  <a:pt x="1421994" y="1116628"/>
                </a:cubicBezTo>
                <a:lnTo>
                  <a:pt x="1421994" y="566204"/>
                </a:lnTo>
                <a:cubicBezTo>
                  <a:pt x="1421994" y="546381"/>
                  <a:pt x="1406049" y="530306"/>
                  <a:pt x="1386376" y="530306"/>
                </a:cubicBezTo>
                <a:lnTo>
                  <a:pt x="673992" y="530306"/>
                </a:lnTo>
                <a:cubicBezTo>
                  <a:pt x="667434" y="530306"/>
                  <a:pt x="662123" y="524949"/>
                  <a:pt x="662123" y="518341"/>
                </a:cubicBezTo>
                <a:lnTo>
                  <a:pt x="662123" y="350818"/>
                </a:lnTo>
                <a:cubicBezTo>
                  <a:pt x="662123" y="344210"/>
                  <a:pt x="667434" y="338853"/>
                  <a:pt x="673992" y="338853"/>
                </a:cubicBezTo>
                <a:lnTo>
                  <a:pt x="935202" y="338853"/>
                </a:lnTo>
                <a:cubicBezTo>
                  <a:pt x="941759" y="338848"/>
                  <a:pt x="947076" y="344205"/>
                  <a:pt x="947076" y="350813"/>
                </a:cubicBezTo>
                <a:lnTo>
                  <a:pt x="947076" y="398681"/>
                </a:lnTo>
                <a:cubicBezTo>
                  <a:pt x="947076" y="418510"/>
                  <a:pt x="963020" y="434580"/>
                  <a:pt x="982693" y="434580"/>
                </a:cubicBezTo>
                <a:lnTo>
                  <a:pt x="1243897" y="434580"/>
                </a:lnTo>
                <a:cubicBezTo>
                  <a:pt x="1263570" y="434580"/>
                  <a:pt x="1279520" y="418510"/>
                  <a:pt x="1279520" y="398681"/>
                </a:cubicBezTo>
                <a:lnTo>
                  <a:pt x="1279520" y="231163"/>
                </a:lnTo>
                <a:cubicBezTo>
                  <a:pt x="1279520" y="211334"/>
                  <a:pt x="1263570" y="195264"/>
                  <a:pt x="1243897" y="19526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tIns="0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644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193675" y="2398712"/>
            <a:ext cx="11803063" cy="426243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5" y="1152525"/>
            <a:ext cx="5830887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161212" y="1296989"/>
            <a:ext cx="4835525" cy="957262"/>
          </a:xfrm>
        </p:spPr>
        <p:txBody>
          <a:bodyPr/>
          <a:lstStyle>
            <a:lvl1pPr marL="0" indent="0" algn="r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 of product in one to two lines of text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016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2398714"/>
            <a:ext cx="3838575" cy="957262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A82E358-0027-1905-DA94-934033F0BDE3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176713" y="2398714"/>
            <a:ext cx="3838575" cy="957262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193675" y="3500439"/>
            <a:ext cx="2843213" cy="1101724"/>
          </a:xfrm>
        </p:spPr>
        <p:txBody>
          <a:bodyPr wrap="none" lIns="0" tIns="21600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193675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C5FBAB6-BF4E-95B8-1024-898EAEBFAF5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193675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626D867-52FA-EF99-0C70-346906945D5C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1"/>
            </p:custDataLst>
          </p:nvPr>
        </p:nvSpPr>
        <p:spPr>
          <a:xfrm>
            <a:off x="193675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12"/>
            </p:custDataLst>
          </p:nvPr>
        </p:nvSpPr>
        <p:spPr>
          <a:xfrm>
            <a:off x="4176713" y="3500439"/>
            <a:ext cx="2843213" cy="1101724"/>
          </a:xfrm>
        </p:spPr>
        <p:txBody>
          <a:bodyPr wrap="none" lIns="0" tIns="21600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4176713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34B067E-C73E-9E34-13BA-CABBB966CD61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4176713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497026D-5492-E89E-197B-3F6D343E6EFF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5"/>
            </p:custDataLst>
          </p:nvPr>
        </p:nvSpPr>
        <p:spPr>
          <a:xfrm>
            <a:off x="4176713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6"/>
            </p:custDataLst>
          </p:nvPr>
        </p:nvSpPr>
        <p:spPr>
          <a:xfrm>
            <a:off x="8158161" y="3500439"/>
            <a:ext cx="2843213" cy="1101724"/>
          </a:xfrm>
        </p:spPr>
        <p:txBody>
          <a:bodyPr wrap="none" lIns="0" tIns="216000" bIns="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7"/>
            </p:custDataLst>
          </p:nvPr>
        </p:nvSpPr>
        <p:spPr>
          <a:xfrm>
            <a:off x="8158161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9BE211C0-5F3F-E4BF-87CC-DCFF1B630F71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8"/>
            </p:custDataLst>
          </p:nvPr>
        </p:nvSpPr>
        <p:spPr>
          <a:xfrm>
            <a:off x="8158161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077BE7BD-8B00-5D23-09C1-E5F4FB7494D9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9"/>
            </p:custDataLst>
          </p:nvPr>
        </p:nvSpPr>
        <p:spPr>
          <a:xfrm>
            <a:off x="8158161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5576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Number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2398714"/>
            <a:ext cx="3838575" cy="957262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A82E358-0027-1905-DA94-934033F0BDE3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176713" y="2398714"/>
            <a:ext cx="3838575" cy="957262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30B22C2-0F1E-2EE2-A791-A3E51799DF2B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193675" y="3500439"/>
            <a:ext cx="2843213" cy="1101724"/>
          </a:xfrm>
        </p:spPr>
        <p:txBody>
          <a:bodyPr wrap="none" lIns="0" tIns="21600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30D5E0-389F-E994-6516-ED614917895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193675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295DCF-0773-5E6E-0661-5C41FD44AD0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193675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A7C7090-5384-C792-8672-1F50BB01F61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1"/>
            </p:custDataLst>
          </p:nvPr>
        </p:nvSpPr>
        <p:spPr>
          <a:xfrm>
            <a:off x="193675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E6CF6F9-E700-2689-5D86-B09E02778A2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12"/>
            </p:custDataLst>
          </p:nvPr>
        </p:nvSpPr>
        <p:spPr>
          <a:xfrm>
            <a:off x="4176713" y="3500439"/>
            <a:ext cx="2843213" cy="1101724"/>
          </a:xfrm>
        </p:spPr>
        <p:txBody>
          <a:bodyPr wrap="none" lIns="0" tIns="21600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56C09F3C-3D3D-92ED-A4F1-4367F81AEA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4176713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03742604-5927-93D2-6CDC-60A7981624BA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4176713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DB5F1520-649C-7C33-8FD6-41DA86E5A9D3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5"/>
            </p:custDataLst>
          </p:nvPr>
        </p:nvSpPr>
        <p:spPr>
          <a:xfrm>
            <a:off x="4176713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C4524072-0982-6DB6-0CBF-925B8DC32D7F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6"/>
            </p:custDataLst>
          </p:nvPr>
        </p:nvSpPr>
        <p:spPr>
          <a:xfrm>
            <a:off x="8158161" y="3500439"/>
            <a:ext cx="2843213" cy="1101724"/>
          </a:xfrm>
        </p:spPr>
        <p:txBody>
          <a:bodyPr wrap="none" lIns="0" tIns="216000" bIns="0" anchor="t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9D17D27B-7201-1317-034C-647A9399D164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7"/>
            </p:custDataLst>
          </p:nvPr>
        </p:nvSpPr>
        <p:spPr>
          <a:xfrm>
            <a:off x="8158161" y="4602163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3602094-9733-A1B7-B67F-B8518BF5BC2D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8"/>
            </p:custDataLst>
          </p:nvPr>
        </p:nvSpPr>
        <p:spPr>
          <a:xfrm>
            <a:off x="8158161" y="4874654"/>
            <a:ext cx="2843213" cy="1018381"/>
          </a:xfrm>
        </p:spPr>
        <p:txBody>
          <a:bodyPr wrap="none" anchor="b" anchorCtr="0"/>
          <a:lstStyle>
            <a:lvl1pPr marL="0" indent="0" algn="l">
              <a:buFontTx/>
              <a:buNone/>
              <a:defRPr sz="60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207E59C-8AA6-8D72-835C-0ACB9033A6BC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9"/>
            </p:custDataLst>
          </p:nvPr>
        </p:nvSpPr>
        <p:spPr>
          <a:xfrm>
            <a:off x="8158161" y="5893036"/>
            <a:ext cx="2843213" cy="209039"/>
          </a:xfrm>
        </p:spPr>
        <p:txBody>
          <a:bodyPr/>
          <a:lstStyle>
            <a:lvl1pPr marL="0" indent="0" algn="l">
              <a:buFontTx/>
              <a:buNone/>
              <a:defRPr sz="12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551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2C8262B-363A-D268-3DE4-A51DE448DB7D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1"/>
            </p:custDataLst>
          </p:nvPr>
        </p:nvSpPr>
        <p:spPr>
          <a:xfrm>
            <a:off x="4175919" y="3500439"/>
            <a:ext cx="3841200" cy="3160800"/>
          </a:xfrm>
          <a:solidFill>
            <a:srgbClr val="EDEDED"/>
          </a:solidFill>
        </p:spPr>
        <p:txBody>
          <a:bodyPr lIns="162000" tIns="414000"/>
          <a:lstStyle>
            <a:lvl1pPr marL="0" indent="0">
              <a:lnSpc>
                <a:spcPct val="79000"/>
              </a:lnSpc>
              <a:spcBef>
                <a:spcPts val="0"/>
              </a:spcBef>
              <a:buNone/>
              <a:defRPr sz="6000">
                <a:latin typeface="+mj-lt"/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813C2CF-FBF5-FE91-FF1F-B464890CB7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156577" y="3500439"/>
            <a:ext cx="3840161" cy="316071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1200"/>
              </a:spcBef>
            </a:pP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94BCCB-FAF6-9578-898D-1CCD8210D034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3"/>
            </p:custDataLst>
          </p:nvPr>
        </p:nvSpPr>
        <p:spPr>
          <a:xfrm>
            <a:off x="8156577" y="3500439"/>
            <a:ext cx="3841200" cy="3160712"/>
          </a:xfrm>
          <a:solidFill>
            <a:srgbClr val="EDEDED"/>
          </a:solidFill>
        </p:spPr>
        <p:txBody>
          <a:bodyPr vert="horz" lIns="162000" tIns="414000" rIns="0" bIns="0" rtlCol="0">
            <a:noAutofit/>
          </a:bodyPr>
          <a:lstStyle>
            <a:lvl1pPr marL="0" indent="0">
              <a:lnSpc>
                <a:spcPct val="79000"/>
              </a:lnSpc>
              <a:spcBef>
                <a:spcPts val="0"/>
              </a:spcBef>
              <a:buNone/>
              <a:defRPr lang="en-GB" sz="6000" smtClean="0">
                <a:latin typeface="+mj-lt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GB"/>
            </a:lvl5pPr>
          </a:lstStyle>
          <a:p>
            <a:pPr marL="176400" lvl="0" indent="-176400"/>
            <a:r>
              <a:rPr lang="en-GB" dirty="0"/>
              <a:t>XX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347B9DA-55BE-62A3-3E4E-656DC4C1117F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4"/>
            </p:custDataLst>
          </p:nvPr>
        </p:nvSpPr>
        <p:spPr>
          <a:xfrm>
            <a:off x="193674" y="3500438"/>
            <a:ext cx="3841200" cy="3160712"/>
          </a:xfrm>
          <a:solidFill>
            <a:srgbClr val="EDEDED"/>
          </a:solidFill>
        </p:spPr>
        <p:txBody>
          <a:bodyPr lIns="162000" tIns="414000"/>
          <a:lstStyle>
            <a:lvl1pPr marL="0" indent="0">
              <a:lnSpc>
                <a:spcPct val="79000"/>
              </a:lnSpc>
              <a:spcBef>
                <a:spcPts val="79"/>
              </a:spcBef>
              <a:buNone/>
              <a:defRPr sz="6000">
                <a:latin typeface="+mj-lt"/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9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356235" y="5472000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11"/>
            </p:custDataLst>
          </p:nvPr>
        </p:nvSpPr>
        <p:spPr>
          <a:xfrm>
            <a:off x="4339273" y="5472000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2"/>
            </p:custDataLst>
          </p:nvPr>
        </p:nvSpPr>
        <p:spPr>
          <a:xfrm>
            <a:off x="8320721" y="5472000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6801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oxes with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56FF18E9-A82B-AEFC-FCB2-435472B93962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96991 w 12192000"/>
              <a:gd name="connsiteY0" fmla="*/ 196850 h 6858000"/>
              <a:gd name="connsiteX1" fmla="*/ 789543 w 12192000"/>
              <a:gd name="connsiteY1" fmla="*/ 204357 h 6858000"/>
              <a:gd name="connsiteX2" fmla="*/ 789543 w 12192000"/>
              <a:gd name="connsiteY2" fmla="*/ 239387 h 6858000"/>
              <a:gd name="connsiteX3" fmla="*/ 796991 w 12192000"/>
              <a:gd name="connsiteY3" fmla="*/ 246894 h 6858000"/>
              <a:gd name="connsiteX4" fmla="*/ 806922 w 12192000"/>
              <a:gd name="connsiteY4" fmla="*/ 246894 h 6858000"/>
              <a:gd name="connsiteX5" fmla="*/ 809405 w 12192000"/>
              <a:gd name="connsiteY5" fmla="*/ 249395 h 6858000"/>
              <a:gd name="connsiteX6" fmla="*/ 809405 w 12192000"/>
              <a:gd name="connsiteY6" fmla="*/ 314453 h 6858000"/>
              <a:gd name="connsiteX7" fmla="*/ 806922 w 12192000"/>
              <a:gd name="connsiteY7" fmla="*/ 316955 h 6858000"/>
              <a:gd name="connsiteX8" fmla="*/ 796991 w 12192000"/>
              <a:gd name="connsiteY8" fmla="*/ 316955 h 6858000"/>
              <a:gd name="connsiteX9" fmla="*/ 789543 w 12192000"/>
              <a:gd name="connsiteY9" fmla="*/ 324461 h 6858000"/>
              <a:gd name="connsiteX10" fmla="*/ 789543 w 12192000"/>
              <a:gd name="connsiteY10" fmla="*/ 389517 h 6858000"/>
              <a:gd name="connsiteX11" fmla="*/ 796991 w 12192000"/>
              <a:gd name="connsiteY11" fmla="*/ 397024 h 6858000"/>
              <a:gd name="connsiteX12" fmla="*/ 891337 w 12192000"/>
              <a:gd name="connsiteY12" fmla="*/ 397024 h 6858000"/>
              <a:gd name="connsiteX13" fmla="*/ 898786 w 12192000"/>
              <a:gd name="connsiteY13" fmla="*/ 389517 h 6858000"/>
              <a:gd name="connsiteX14" fmla="*/ 898786 w 12192000"/>
              <a:gd name="connsiteY14" fmla="*/ 324461 h 6858000"/>
              <a:gd name="connsiteX15" fmla="*/ 891337 w 12192000"/>
              <a:gd name="connsiteY15" fmla="*/ 316955 h 6858000"/>
              <a:gd name="connsiteX16" fmla="*/ 881406 w 12192000"/>
              <a:gd name="connsiteY16" fmla="*/ 316955 h 6858000"/>
              <a:gd name="connsiteX17" fmla="*/ 878923 w 12192000"/>
              <a:gd name="connsiteY17" fmla="*/ 314453 h 6858000"/>
              <a:gd name="connsiteX18" fmla="*/ 878923 w 12192000"/>
              <a:gd name="connsiteY18" fmla="*/ 299439 h 6858000"/>
              <a:gd name="connsiteX19" fmla="*/ 881406 w 12192000"/>
              <a:gd name="connsiteY19" fmla="*/ 296937 h 6858000"/>
              <a:gd name="connsiteX20" fmla="*/ 906234 w 12192000"/>
              <a:gd name="connsiteY20" fmla="*/ 296937 h 6858000"/>
              <a:gd name="connsiteX21" fmla="*/ 908717 w 12192000"/>
              <a:gd name="connsiteY21" fmla="*/ 299382 h 6858000"/>
              <a:gd name="connsiteX22" fmla="*/ 916165 w 12192000"/>
              <a:gd name="connsiteY22" fmla="*/ 306946 h 6858000"/>
              <a:gd name="connsiteX23" fmla="*/ 970787 w 12192000"/>
              <a:gd name="connsiteY23" fmla="*/ 306946 h 6858000"/>
              <a:gd name="connsiteX24" fmla="*/ 978235 w 12192000"/>
              <a:gd name="connsiteY24" fmla="*/ 299439 h 6858000"/>
              <a:gd name="connsiteX25" fmla="*/ 978235 w 12192000"/>
              <a:gd name="connsiteY25" fmla="*/ 264409 h 6858000"/>
              <a:gd name="connsiteX26" fmla="*/ 970787 w 12192000"/>
              <a:gd name="connsiteY26" fmla="*/ 256902 h 6858000"/>
              <a:gd name="connsiteX27" fmla="*/ 916165 w 12192000"/>
              <a:gd name="connsiteY27" fmla="*/ 256902 h 6858000"/>
              <a:gd name="connsiteX28" fmla="*/ 908717 w 12192000"/>
              <a:gd name="connsiteY28" fmla="*/ 264466 h 6858000"/>
              <a:gd name="connsiteX29" fmla="*/ 906234 w 12192000"/>
              <a:gd name="connsiteY29" fmla="*/ 266911 h 6858000"/>
              <a:gd name="connsiteX30" fmla="*/ 881406 w 12192000"/>
              <a:gd name="connsiteY30" fmla="*/ 266911 h 6858000"/>
              <a:gd name="connsiteX31" fmla="*/ 878923 w 12192000"/>
              <a:gd name="connsiteY31" fmla="*/ 264409 h 6858000"/>
              <a:gd name="connsiteX32" fmla="*/ 878923 w 12192000"/>
              <a:gd name="connsiteY32" fmla="*/ 229378 h 6858000"/>
              <a:gd name="connsiteX33" fmla="*/ 881406 w 12192000"/>
              <a:gd name="connsiteY33" fmla="*/ 226876 h 6858000"/>
              <a:gd name="connsiteX34" fmla="*/ 955890 w 12192000"/>
              <a:gd name="connsiteY34" fmla="*/ 226876 h 6858000"/>
              <a:gd name="connsiteX35" fmla="*/ 958373 w 12192000"/>
              <a:gd name="connsiteY35" fmla="*/ 229378 h 6858000"/>
              <a:gd name="connsiteX36" fmla="*/ 958373 w 12192000"/>
              <a:gd name="connsiteY36" fmla="*/ 239387 h 6858000"/>
              <a:gd name="connsiteX37" fmla="*/ 965821 w 12192000"/>
              <a:gd name="connsiteY37" fmla="*/ 246894 h 6858000"/>
              <a:gd name="connsiteX38" fmla="*/ 1040304 w 12192000"/>
              <a:gd name="connsiteY38" fmla="*/ 246894 h 6858000"/>
              <a:gd name="connsiteX39" fmla="*/ 1047752 w 12192000"/>
              <a:gd name="connsiteY39" fmla="*/ 239387 h 6858000"/>
              <a:gd name="connsiteX40" fmla="*/ 1047752 w 12192000"/>
              <a:gd name="connsiteY40" fmla="*/ 204357 h 6858000"/>
              <a:gd name="connsiteX41" fmla="*/ 1040304 w 12192000"/>
              <a:gd name="connsiteY41" fmla="*/ 196850 h 6858000"/>
              <a:gd name="connsiteX42" fmla="*/ 499059 w 12192000"/>
              <a:gd name="connsiteY42" fmla="*/ 196850 h 6858000"/>
              <a:gd name="connsiteX43" fmla="*/ 491611 w 12192000"/>
              <a:gd name="connsiteY43" fmla="*/ 204357 h 6858000"/>
              <a:gd name="connsiteX44" fmla="*/ 491611 w 12192000"/>
              <a:gd name="connsiteY44" fmla="*/ 239387 h 6858000"/>
              <a:gd name="connsiteX45" fmla="*/ 499059 w 12192000"/>
              <a:gd name="connsiteY45" fmla="*/ 246894 h 6858000"/>
              <a:gd name="connsiteX46" fmla="*/ 508990 w 12192000"/>
              <a:gd name="connsiteY46" fmla="*/ 246894 h 6858000"/>
              <a:gd name="connsiteX47" fmla="*/ 511473 w 12192000"/>
              <a:gd name="connsiteY47" fmla="*/ 249395 h 6858000"/>
              <a:gd name="connsiteX48" fmla="*/ 511473 w 12192000"/>
              <a:gd name="connsiteY48" fmla="*/ 314453 h 6858000"/>
              <a:gd name="connsiteX49" fmla="*/ 508990 w 12192000"/>
              <a:gd name="connsiteY49" fmla="*/ 316955 h 6858000"/>
              <a:gd name="connsiteX50" fmla="*/ 499059 w 12192000"/>
              <a:gd name="connsiteY50" fmla="*/ 316955 h 6858000"/>
              <a:gd name="connsiteX51" fmla="*/ 491611 w 12192000"/>
              <a:gd name="connsiteY51" fmla="*/ 324461 h 6858000"/>
              <a:gd name="connsiteX52" fmla="*/ 491611 w 12192000"/>
              <a:gd name="connsiteY52" fmla="*/ 389517 h 6858000"/>
              <a:gd name="connsiteX53" fmla="*/ 499059 w 12192000"/>
              <a:gd name="connsiteY53" fmla="*/ 397024 h 6858000"/>
              <a:gd name="connsiteX54" fmla="*/ 573542 w 12192000"/>
              <a:gd name="connsiteY54" fmla="*/ 397024 h 6858000"/>
              <a:gd name="connsiteX55" fmla="*/ 580991 w 12192000"/>
              <a:gd name="connsiteY55" fmla="*/ 389517 h 6858000"/>
              <a:gd name="connsiteX56" fmla="*/ 580991 w 12192000"/>
              <a:gd name="connsiteY56" fmla="*/ 312986 h 6858000"/>
              <a:gd name="connsiteX57" fmla="*/ 585229 w 12192000"/>
              <a:gd name="connsiteY57" fmla="*/ 311216 h 6858000"/>
              <a:gd name="connsiteX58" fmla="*/ 668189 w 12192000"/>
              <a:gd name="connsiteY58" fmla="*/ 394825 h 6858000"/>
              <a:gd name="connsiteX59" fmla="*/ 673455 w 12192000"/>
              <a:gd name="connsiteY59" fmla="*/ 397024 h 6858000"/>
              <a:gd name="connsiteX60" fmla="*/ 742371 w 12192000"/>
              <a:gd name="connsiteY60" fmla="*/ 397024 h 6858000"/>
              <a:gd name="connsiteX61" fmla="*/ 749819 w 12192000"/>
              <a:gd name="connsiteY61" fmla="*/ 389517 h 6858000"/>
              <a:gd name="connsiteX62" fmla="*/ 749819 w 12192000"/>
              <a:gd name="connsiteY62" fmla="*/ 324461 h 6858000"/>
              <a:gd name="connsiteX63" fmla="*/ 742371 w 12192000"/>
              <a:gd name="connsiteY63" fmla="*/ 316955 h 6858000"/>
              <a:gd name="connsiteX64" fmla="*/ 713180 w 12192000"/>
              <a:gd name="connsiteY64" fmla="*/ 316955 h 6858000"/>
              <a:gd name="connsiteX65" fmla="*/ 707913 w 12192000"/>
              <a:gd name="connsiteY65" fmla="*/ 314755 h 6858000"/>
              <a:gd name="connsiteX66" fmla="*/ 644815 w 12192000"/>
              <a:gd name="connsiteY66" fmla="*/ 251164 h 6858000"/>
              <a:gd name="connsiteX67" fmla="*/ 646571 w 12192000"/>
              <a:gd name="connsiteY67" fmla="*/ 246893 h 6858000"/>
              <a:gd name="connsiteX68" fmla="*/ 712577 w 12192000"/>
              <a:gd name="connsiteY68" fmla="*/ 246893 h 6858000"/>
              <a:gd name="connsiteX69" fmla="*/ 720026 w 12192000"/>
              <a:gd name="connsiteY69" fmla="*/ 239386 h 6858000"/>
              <a:gd name="connsiteX70" fmla="*/ 720026 w 12192000"/>
              <a:gd name="connsiteY70" fmla="*/ 204357 h 6858000"/>
              <a:gd name="connsiteX71" fmla="*/ 712577 w 12192000"/>
              <a:gd name="connsiteY71" fmla="*/ 196850 h 6858000"/>
              <a:gd name="connsiteX72" fmla="*/ 653593 w 12192000"/>
              <a:gd name="connsiteY72" fmla="*/ 196850 h 6858000"/>
              <a:gd name="connsiteX73" fmla="*/ 648327 w 12192000"/>
              <a:gd name="connsiteY73" fmla="*/ 199049 h 6858000"/>
              <a:gd name="connsiteX74" fmla="*/ 585229 w 12192000"/>
              <a:gd name="connsiteY74" fmla="*/ 262641 h 6858000"/>
              <a:gd name="connsiteX75" fmla="*/ 580991 w 12192000"/>
              <a:gd name="connsiteY75" fmla="*/ 260871 h 6858000"/>
              <a:gd name="connsiteX76" fmla="*/ 580991 w 12192000"/>
              <a:gd name="connsiteY76" fmla="*/ 204357 h 6858000"/>
              <a:gd name="connsiteX77" fmla="*/ 573542 w 12192000"/>
              <a:gd name="connsiteY77" fmla="*/ 196850 h 6858000"/>
              <a:gd name="connsiteX78" fmla="*/ 230918 w 12192000"/>
              <a:gd name="connsiteY78" fmla="*/ 196850 h 6858000"/>
              <a:gd name="connsiteX79" fmla="*/ 223469 w 12192000"/>
              <a:gd name="connsiteY79" fmla="*/ 204357 h 6858000"/>
              <a:gd name="connsiteX80" fmla="*/ 223469 w 12192000"/>
              <a:gd name="connsiteY80" fmla="*/ 289430 h 6858000"/>
              <a:gd name="connsiteX81" fmla="*/ 230918 w 12192000"/>
              <a:gd name="connsiteY81" fmla="*/ 296937 h 6858000"/>
              <a:gd name="connsiteX82" fmla="*/ 360022 w 12192000"/>
              <a:gd name="connsiteY82" fmla="*/ 296937 h 6858000"/>
              <a:gd name="connsiteX83" fmla="*/ 362506 w 12192000"/>
              <a:gd name="connsiteY83" fmla="*/ 299439 h 6858000"/>
              <a:gd name="connsiteX84" fmla="*/ 362506 w 12192000"/>
              <a:gd name="connsiteY84" fmla="*/ 364496 h 6858000"/>
              <a:gd name="connsiteX85" fmla="*/ 360022 w 12192000"/>
              <a:gd name="connsiteY85" fmla="*/ 366998 h 6858000"/>
              <a:gd name="connsiteX86" fmla="*/ 285539 w 12192000"/>
              <a:gd name="connsiteY86" fmla="*/ 366998 h 6858000"/>
              <a:gd name="connsiteX87" fmla="*/ 283056 w 12192000"/>
              <a:gd name="connsiteY87" fmla="*/ 364496 h 6858000"/>
              <a:gd name="connsiteX88" fmla="*/ 283056 w 12192000"/>
              <a:gd name="connsiteY88" fmla="*/ 324461 h 6858000"/>
              <a:gd name="connsiteX89" fmla="*/ 275608 w 12192000"/>
              <a:gd name="connsiteY89" fmla="*/ 316955 h 6858000"/>
              <a:gd name="connsiteX90" fmla="*/ 201124 w 12192000"/>
              <a:gd name="connsiteY90" fmla="*/ 316955 h 6858000"/>
              <a:gd name="connsiteX91" fmla="*/ 193676 w 12192000"/>
              <a:gd name="connsiteY91" fmla="*/ 324461 h 6858000"/>
              <a:gd name="connsiteX92" fmla="*/ 193676 w 12192000"/>
              <a:gd name="connsiteY92" fmla="*/ 389517 h 6858000"/>
              <a:gd name="connsiteX93" fmla="*/ 201124 w 12192000"/>
              <a:gd name="connsiteY93" fmla="*/ 397024 h 6858000"/>
              <a:gd name="connsiteX94" fmla="*/ 444437 w 12192000"/>
              <a:gd name="connsiteY94" fmla="*/ 397024 h 6858000"/>
              <a:gd name="connsiteX95" fmla="*/ 451885 w 12192000"/>
              <a:gd name="connsiteY95" fmla="*/ 389517 h 6858000"/>
              <a:gd name="connsiteX96" fmla="*/ 451885 w 12192000"/>
              <a:gd name="connsiteY96" fmla="*/ 274418 h 6858000"/>
              <a:gd name="connsiteX97" fmla="*/ 444437 w 12192000"/>
              <a:gd name="connsiteY97" fmla="*/ 266911 h 6858000"/>
              <a:gd name="connsiteX98" fmla="*/ 295470 w 12192000"/>
              <a:gd name="connsiteY98" fmla="*/ 266911 h 6858000"/>
              <a:gd name="connsiteX99" fmla="*/ 292988 w 12192000"/>
              <a:gd name="connsiteY99" fmla="*/ 264409 h 6858000"/>
              <a:gd name="connsiteX100" fmla="*/ 292988 w 12192000"/>
              <a:gd name="connsiteY100" fmla="*/ 229378 h 6858000"/>
              <a:gd name="connsiteX101" fmla="*/ 295470 w 12192000"/>
              <a:gd name="connsiteY101" fmla="*/ 226876 h 6858000"/>
              <a:gd name="connsiteX102" fmla="*/ 350091 w 12192000"/>
              <a:gd name="connsiteY102" fmla="*/ 226876 h 6858000"/>
              <a:gd name="connsiteX103" fmla="*/ 352574 w 12192000"/>
              <a:gd name="connsiteY103" fmla="*/ 229377 h 6858000"/>
              <a:gd name="connsiteX104" fmla="*/ 352574 w 12192000"/>
              <a:gd name="connsiteY104" fmla="*/ 239387 h 6858000"/>
              <a:gd name="connsiteX105" fmla="*/ 360022 w 12192000"/>
              <a:gd name="connsiteY105" fmla="*/ 246894 h 6858000"/>
              <a:gd name="connsiteX106" fmla="*/ 414643 w 12192000"/>
              <a:gd name="connsiteY106" fmla="*/ 246894 h 6858000"/>
              <a:gd name="connsiteX107" fmla="*/ 422092 w 12192000"/>
              <a:gd name="connsiteY107" fmla="*/ 239387 h 6858000"/>
              <a:gd name="connsiteX108" fmla="*/ 422092 w 12192000"/>
              <a:gd name="connsiteY108" fmla="*/ 204357 h 6858000"/>
              <a:gd name="connsiteX109" fmla="*/ 414643 w 12192000"/>
              <a:gd name="connsiteY109" fmla="*/ 196850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796991" y="196850"/>
                </a:moveTo>
                <a:cubicBezTo>
                  <a:pt x="792879" y="196850"/>
                  <a:pt x="789543" y="200211"/>
                  <a:pt x="789543" y="204357"/>
                </a:cubicBezTo>
                <a:lnTo>
                  <a:pt x="789543" y="239387"/>
                </a:lnTo>
                <a:cubicBezTo>
                  <a:pt x="789543" y="243533"/>
                  <a:pt x="792879" y="246894"/>
                  <a:pt x="796991" y="246894"/>
                </a:cubicBezTo>
                <a:lnTo>
                  <a:pt x="806922" y="246894"/>
                </a:lnTo>
                <a:cubicBezTo>
                  <a:pt x="808295" y="246894"/>
                  <a:pt x="809405" y="248014"/>
                  <a:pt x="809405" y="249395"/>
                </a:cubicBezTo>
                <a:lnTo>
                  <a:pt x="809405" y="314453"/>
                </a:lnTo>
                <a:cubicBezTo>
                  <a:pt x="809405" y="315834"/>
                  <a:pt x="808295" y="316955"/>
                  <a:pt x="806922" y="316955"/>
                </a:cubicBezTo>
                <a:lnTo>
                  <a:pt x="796991" y="316955"/>
                </a:lnTo>
                <a:cubicBezTo>
                  <a:pt x="792879" y="316955"/>
                  <a:pt x="789543" y="320316"/>
                  <a:pt x="789543" y="324461"/>
                </a:cubicBezTo>
                <a:lnTo>
                  <a:pt x="789543" y="389517"/>
                </a:lnTo>
                <a:cubicBezTo>
                  <a:pt x="789543" y="393664"/>
                  <a:pt x="792879" y="397024"/>
                  <a:pt x="796991" y="397024"/>
                </a:cubicBezTo>
                <a:lnTo>
                  <a:pt x="891337" y="397024"/>
                </a:lnTo>
                <a:cubicBezTo>
                  <a:pt x="895451" y="397024"/>
                  <a:pt x="898786" y="393664"/>
                  <a:pt x="898786" y="389517"/>
                </a:cubicBezTo>
                <a:lnTo>
                  <a:pt x="898786" y="324461"/>
                </a:lnTo>
                <a:cubicBezTo>
                  <a:pt x="898786" y="320316"/>
                  <a:pt x="895451" y="316955"/>
                  <a:pt x="891337" y="316955"/>
                </a:cubicBezTo>
                <a:lnTo>
                  <a:pt x="881406" y="316955"/>
                </a:lnTo>
                <a:cubicBezTo>
                  <a:pt x="880035" y="316955"/>
                  <a:pt x="878923" y="315834"/>
                  <a:pt x="878923" y="314453"/>
                </a:cubicBezTo>
                <a:lnTo>
                  <a:pt x="878923" y="299439"/>
                </a:lnTo>
                <a:cubicBezTo>
                  <a:pt x="878923" y="298057"/>
                  <a:pt x="880035" y="296937"/>
                  <a:pt x="881406" y="296937"/>
                </a:cubicBezTo>
                <a:lnTo>
                  <a:pt x="906234" y="296937"/>
                </a:lnTo>
                <a:cubicBezTo>
                  <a:pt x="907586" y="296937"/>
                  <a:pt x="908726" y="298019"/>
                  <a:pt x="908717" y="299382"/>
                </a:cubicBezTo>
                <a:cubicBezTo>
                  <a:pt x="908685" y="303553"/>
                  <a:pt x="912032" y="306946"/>
                  <a:pt x="916165" y="306946"/>
                </a:cubicBezTo>
                <a:lnTo>
                  <a:pt x="970787" y="306946"/>
                </a:lnTo>
                <a:cubicBezTo>
                  <a:pt x="974899" y="306946"/>
                  <a:pt x="978235" y="303585"/>
                  <a:pt x="978235" y="299439"/>
                </a:cubicBezTo>
                <a:lnTo>
                  <a:pt x="978235" y="264409"/>
                </a:lnTo>
                <a:cubicBezTo>
                  <a:pt x="978235" y="260263"/>
                  <a:pt x="974899" y="256902"/>
                  <a:pt x="970787" y="256902"/>
                </a:cubicBezTo>
                <a:lnTo>
                  <a:pt x="916165" y="256902"/>
                </a:lnTo>
                <a:cubicBezTo>
                  <a:pt x="912032" y="256902"/>
                  <a:pt x="908685" y="260294"/>
                  <a:pt x="908717" y="264466"/>
                </a:cubicBezTo>
                <a:cubicBezTo>
                  <a:pt x="908726" y="265829"/>
                  <a:pt x="907586" y="266911"/>
                  <a:pt x="906234" y="266911"/>
                </a:cubicBezTo>
                <a:lnTo>
                  <a:pt x="881406" y="266911"/>
                </a:lnTo>
                <a:cubicBezTo>
                  <a:pt x="880035" y="266911"/>
                  <a:pt x="878923" y="265791"/>
                  <a:pt x="878923" y="264409"/>
                </a:cubicBezTo>
                <a:lnTo>
                  <a:pt x="878923" y="229378"/>
                </a:lnTo>
                <a:cubicBezTo>
                  <a:pt x="878923" y="227996"/>
                  <a:pt x="880035" y="226876"/>
                  <a:pt x="881406" y="226876"/>
                </a:cubicBezTo>
                <a:lnTo>
                  <a:pt x="955890" y="226876"/>
                </a:lnTo>
                <a:cubicBezTo>
                  <a:pt x="957261" y="226876"/>
                  <a:pt x="958373" y="227996"/>
                  <a:pt x="958373" y="229378"/>
                </a:cubicBezTo>
                <a:lnTo>
                  <a:pt x="958373" y="239387"/>
                </a:lnTo>
                <a:cubicBezTo>
                  <a:pt x="958373" y="243533"/>
                  <a:pt x="961707" y="246894"/>
                  <a:pt x="965821" y="246894"/>
                </a:cubicBezTo>
                <a:lnTo>
                  <a:pt x="1040304" y="246894"/>
                </a:lnTo>
                <a:cubicBezTo>
                  <a:pt x="1044417" y="246894"/>
                  <a:pt x="1047752" y="243533"/>
                  <a:pt x="1047752" y="239387"/>
                </a:cubicBezTo>
                <a:lnTo>
                  <a:pt x="1047752" y="204357"/>
                </a:lnTo>
                <a:cubicBezTo>
                  <a:pt x="1047752" y="200211"/>
                  <a:pt x="1044417" y="196850"/>
                  <a:pt x="1040304" y="196850"/>
                </a:cubicBezTo>
                <a:close/>
                <a:moveTo>
                  <a:pt x="499059" y="196850"/>
                </a:moveTo>
                <a:cubicBezTo>
                  <a:pt x="494946" y="196850"/>
                  <a:pt x="491611" y="200211"/>
                  <a:pt x="491611" y="204357"/>
                </a:cubicBezTo>
                <a:lnTo>
                  <a:pt x="491611" y="239387"/>
                </a:lnTo>
                <a:cubicBezTo>
                  <a:pt x="491611" y="243533"/>
                  <a:pt x="494946" y="246894"/>
                  <a:pt x="499059" y="246894"/>
                </a:cubicBezTo>
                <a:lnTo>
                  <a:pt x="508990" y="246894"/>
                </a:lnTo>
                <a:cubicBezTo>
                  <a:pt x="510362" y="246894"/>
                  <a:pt x="511473" y="248014"/>
                  <a:pt x="511473" y="249395"/>
                </a:cubicBezTo>
                <a:lnTo>
                  <a:pt x="511473" y="314453"/>
                </a:lnTo>
                <a:cubicBezTo>
                  <a:pt x="511473" y="315834"/>
                  <a:pt x="510362" y="316955"/>
                  <a:pt x="508990" y="316955"/>
                </a:cubicBezTo>
                <a:lnTo>
                  <a:pt x="499059" y="316955"/>
                </a:lnTo>
                <a:cubicBezTo>
                  <a:pt x="494946" y="316955"/>
                  <a:pt x="491611" y="320316"/>
                  <a:pt x="491611" y="324461"/>
                </a:cubicBezTo>
                <a:lnTo>
                  <a:pt x="491611" y="389517"/>
                </a:lnTo>
                <a:cubicBezTo>
                  <a:pt x="491611" y="393664"/>
                  <a:pt x="494946" y="397023"/>
                  <a:pt x="499059" y="397024"/>
                </a:cubicBezTo>
                <a:lnTo>
                  <a:pt x="573542" y="397024"/>
                </a:lnTo>
                <a:cubicBezTo>
                  <a:pt x="577656" y="397024"/>
                  <a:pt x="580991" y="393664"/>
                  <a:pt x="580991" y="389517"/>
                </a:cubicBezTo>
                <a:lnTo>
                  <a:pt x="580991" y="312986"/>
                </a:lnTo>
                <a:cubicBezTo>
                  <a:pt x="580991" y="310757"/>
                  <a:pt x="583666" y="309640"/>
                  <a:pt x="585229" y="311216"/>
                </a:cubicBezTo>
                <a:lnTo>
                  <a:pt x="668189" y="394825"/>
                </a:lnTo>
                <a:cubicBezTo>
                  <a:pt x="669585" y="396233"/>
                  <a:pt x="671480" y="397024"/>
                  <a:pt x="673455" y="397024"/>
                </a:cubicBezTo>
                <a:lnTo>
                  <a:pt x="742371" y="397024"/>
                </a:lnTo>
                <a:cubicBezTo>
                  <a:pt x="746484" y="397024"/>
                  <a:pt x="749819" y="393664"/>
                  <a:pt x="749819" y="389517"/>
                </a:cubicBezTo>
                <a:lnTo>
                  <a:pt x="749819" y="324461"/>
                </a:lnTo>
                <a:cubicBezTo>
                  <a:pt x="749819" y="320316"/>
                  <a:pt x="746484" y="316955"/>
                  <a:pt x="742371" y="316955"/>
                </a:cubicBezTo>
                <a:lnTo>
                  <a:pt x="713180" y="316955"/>
                </a:lnTo>
                <a:cubicBezTo>
                  <a:pt x="711204" y="316955"/>
                  <a:pt x="709310" y="316164"/>
                  <a:pt x="707913" y="314755"/>
                </a:cubicBezTo>
                <a:lnTo>
                  <a:pt x="644815" y="251164"/>
                </a:lnTo>
                <a:cubicBezTo>
                  <a:pt x="643251" y="249588"/>
                  <a:pt x="644358" y="246893"/>
                  <a:pt x="646571" y="246893"/>
                </a:cubicBezTo>
                <a:lnTo>
                  <a:pt x="712577" y="246893"/>
                </a:lnTo>
                <a:cubicBezTo>
                  <a:pt x="716691" y="246893"/>
                  <a:pt x="720026" y="243532"/>
                  <a:pt x="720026" y="239386"/>
                </a:cubicBezTo>
                <a:lnTo>
                  <a:pt x="720026" y="204357"/>
                </a:lnTo>
                <a:cubicBezTo>
                  <a:pt x="720026" y="200211"/>
                  <a:pt x="716691" y="196850"/>
                  <a:pt x="712577" y="196850"/>
                </a:cubicBezTo>
                <a:lnTo>
                  <a:pt x="653593" y="196850"/>
                </a:lnTo>
                <a:cubicBezTo>
                  <a:pt x="651618" y="196850"/>
                  <a:pt x="649723" y="197640"/>
                  <a:pt x="648327" y="199049"/>
                </a:cubicBezTo>
                <a:lnTo>
                  <a:pt x="585229" y="262641"/>
                </a:lnTo>
                <a:cubicBezTo>
                  <a:pt x="583666" y="264217"/>
                  <a:pt x="580991" y="263101"/>
                  <a:pt x="580991" y="260871"/>
                </a:cubicBezTo>
                <a:lnTo>
                  <a:pt x="580991" y="204357"/>
                </a:lnTo>
                <a:cubicBezTo>
                  <a:pt x="580991" y="200211"/>
                  <a:pt x="577656" y="196850"/>
                  <a:pt x="573542" y="196850"/>
                </a:cubicBezTo>
                <a:close/>
                <a:moveTo>
                  <a:pt x="230918" y="196850"/>
                </a:moveTo>
                <a:cubicBezTo>
                  <a:pt x="226804" y="196850"/>
                  <a:pt x="223469" y="200211"/>
                  <a:pt x="223469" y="204357"/>
                </a:cubicBezTo>
                <a:lnTo>
                  <a:pt x="223469" y="289430"/>
                </a:lnTo>
                <a:cubicBezTo>
                  <a:pt x="223469" y="293577"/>
                  <a:pt x="226804" y="296937"/>
                  <a:pt x="230918" y="296937"/>
                </a:cubicBezTo>
                <a:lnTo>
                  <a:pt x="360022" y="296937"/>
                </a:lnTo>
                <a:cubicBezTo>
                  <a:pt x="361394" y="296937"/>
                  <a:pt x="362506" y="298057"/>
                  <a:pt x="362506" y="299439"/>
                </a:cubicBezTo>
                <a:lnTo>
                  <a:pt x="362506" y="364496"/>
                </a:lnTo>
                <a:cubicBezTo>
                  <a:pt x="362506" y="365878"/>
                  <a:pt x="361394" y="366998"/>
                  <a:pt x="360022" y="366998"/>
                </a:cubicBezTo>
                <a:lnTo>
                  <a:pt x="285539" y="366998"/>
                </a:lnTo>
                <a:cubicBezTo>
                  <a:pt x="284167" y="366998"/>
                  <a:pt x="283056" y="365878"/>
                  <a:pt x="283056" y="364496"/>
                </a:cubicBezTo>
                <a:lnTo>
                  <a:pt x="283056" y="324461"/>
                </a:lnTo>
                <a:cubicBezTo>
                  <a:pt x="283056" y="320316"/>
                  <a:pt x="279722" y="316955"/>
                  <a:pt x="275608" y="316955"/>
                </a:cubicBezTo>
                <a:lnTo>
                  <a:pt x="201124" y="316955"/>
                </a:lnTo>
                <a:cubicBezTo>
                  <a:pt x="197011" y="316955"/>
                  <a:pt x="193676" y="320316"/>
                  <a:pt x="193676" y="324461"/>
                </a:cubicBezTo>
                <a:lnTo>
                  <a:pt x="193676" y="389517"/>
                </a:lnTo>
                <a:cubicBezTo>
                  <a:pt x="193676" y="393664"/>
                  <a:pt x="197011" y="397024"/>
                  <a:pt x="201124" y="397024"/>
                </a:cubicBezTo>
                <a:lnTo>
                  <a:pt x="444437" y="397024"/>
                </a:lnTo>
                <a:cubicBezTo>
                  <a:pt x="448551" y="397024"/>
                  <a:pt x="451885" y="393664"/>
                  <a:pt x="451885" y="389517"/>
                </a:cubicBezTo>
                <a:lnTo>
                  <a:pt x="451885" y="274418"/>
                </a:lnTo>
                <a:cubicBezTo>
                  <a:pt x="451885" y="270272"/>
                  <a:pt x="448551" y="266911"/>
                  <a:pt x="444437" y="266911"/>
                </a:cubicBezTo>
                <a:lnTo>
                  <a:pt x="295470" y="266911"/>
                </a:lnTo>
                <a:cubicBezTo>
                  <a:pt x="294099" y="266911"/>
                  <a:pt x="292988" y="265791"/>
                  <a:pt x="292988" y="264409"/>
                </a:cubicBezTo>
                <a:lnTo>
                  <a:pt x="292988" y="229378"/>
                </a:lnTo>
                <a:cubicBezTo>
                  <a:pt x="292988" y="227996"/>
                  <a:pt x="294099" y="226876"/>
                  <a:pt x="295470" y="226876"/>
                </a:cubicBezTo>
                <a:lnTo>
                  <a:pt x="350091" y="226876"/>
                </a:lnTo>
                <a:cubicBezTo>
                  <a:pt x="351463" y="226875"/>
                  <a:pt x="352574" y="227995"/>
                  <a:pt x="352574" y="229377"/>
                </a:cubicBezTo>
                <a:lnTo>
                  <a:pt x="352574" y="239387"/>
                </a:lnTo>
                <a:cubicBezTo>
                  <a:pt x="352574" y="243533"/>
                  <a:pt x="355909" y="246894"/>
                  <a:pt x="360022" y="246894"/>
                </a:cubicBezTo>
                <a:lnTo>
                  <a:pt x="414643" y="246894"/>
                </a:lnTo>
                <a:cubicBezTo>
                  <a:pt x="418757" y="246894"/>
                  <a:pt x="422092" y="243533"/>
                  <a:pt x="422092" y="239387"/>
                </a:cubicBezTo>
                <a:lnTo>
                  <a:pt x="422092" y="204357"/>
                </a:lnTo>
                <a:cubicBezTo>
                  <a:pt x="422092" y="200211"/>
                  <a:pt x="418757" y="196850"/>
                  <a:pt x="414643" y="1968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5F2D09-EE71-5B56-1F25-6AE17FFDE0C2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2"/>
            </p:custDataLst>
          </p:nvPr>
        </p:nvSpPr>
        <p:spPr>
          <a:xfrm>
            <a:off x="192086" y="3500439"/>
            <a:ext cx="3841200" cy="3160800"/>
          </a:xfrm>
          <a:solidFill>
            <a:schemeClr val="tx2"/>
          </a:solidFill>
        </p:spPr>
        <p:txBody>
          <a:bodyPr lIns="162000" tIns="414000"/>
          <a:lstStyle>
            <a:lvl1pPr marL="0" indent="0">
              <a:lnSpc>
                <a:spcPct val="79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FF39447-1039-9B73-3531-C92A7A54C0E4}"/>
              </a:ext>
            </a:extLst>
          </p:cNvPr>
          <p:cNvSpPr>
            <a:spLocks noGrp="1"/>
          </p:cNvSpPr>
          <p:nvPr>
            <p:ph type="body" sz="quarter" idx="29" hasCustomPrompt="1"/>
            <p:custDataLst>
              <p:tags r:id="rId3"/>
            </p:custDataLst>
          </p:nvPr>
        </p:nvSpPr>
        <p:spPr>
          <a:xfrm>
            <a:off x="4175919" y="3500439"/>
            <a:ext cx="3841200" cy="3160800"/>
          </a:xfrm>
          <a:solidFill>
            <a:schemeClr val="tx2"/>
          </a:solidFill>
        </p:spPr>
        <p:txBody>
          <a:bodyPr lIns="162000" tIns="414000"/>
          <a:lstStyle>
            <a:lvl1pPr marL="0" indent="0">
              <a:lnSpc>
                <a:spcPct val="79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4109CF4-EE80-18E4-E106-DE172C0E2E1C}"/>
              </a:ext>
            </a:extLst>
          </p:cNvPr>
          <p:cNvSpPr>
            <a:spLocks noGrp="1"/>
          </p:cNvSpPr>
          <p:nvPr>
            <p:ph type="body" sz="quarter" idx="30" hasCustomPrompt="1"/>
            <p:custDataLst>
              <p:tags r:id="rId4"/>
            </p:custDataLst>
          </p:nvPr>
        </p:nvSpPr>
        <p:spPr>
          <a:xfrm>
            <a:off x="8156577" y="3500349"/>
            <a:ext cx="3841200" cy="3160800"/>
          </a:xfrm>
          <a:solidFill>
            <a:schemeClr val="tx2"/>
          </a:solidFill>
        </p:spPr>
        <p:txBody>
          <a:bodyPr lIns="162000" tIns="414000"/>
          <a:lstStyle>
            <a:lvl1pPr marL="0" indent="0">
              <a:lnSpc>
                <a:spcPct val="79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56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3564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3564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9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356235" y="5454904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11"/>
            </p:custDataLst>
          </p:nvPr>
        </p:nvSpPr>
        <p:spPr>
          <a:xfrm>
            <a:off x="4339273" y="5454904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2"/>
            </p:custDataLst>
          </p:nvPr>
        </p:nvSpPr>
        <p:spPr>
          <a:xfrm>
            <a:off x="8320721" y="5454904"/>
            <a:ext cx="3514725" cy="935736"/>
          </a:xfrm>
        </p:spPr>
        <p:txBody>
          <a:bodyPr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14760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174330" y="2398713"/>
            <a:ext cx="3840163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7"/>
            </p:custDataLst>
          </p:nvPr>
        </p:nvSpPr>
        <p:spPr>
          <a:xfrm>
            <a:off x="192086" y="2398713"/>
            <a:ext cx="3840163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8"/>
            </p:custDataLst>
          </p:nvPr>
        </p:nvSpPr>
        <p:spPr>
          <a:xfrm>
            <a:off x="8156575" y="2398713"/>
            <a:ext cx="3840163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59683E-71F7-7EFC-C2CB-BAB4E78B904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193675" y="4968000"/>
            <a:ext cx="383857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D6A9F03-67F8-D8BB-CBDC-75069709F3D7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4175919" y="4602163"/>
            <a:ext cx="383857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D18AAB-5EDD-CC8D-430E-2D26F593788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4175919" y="4968000"/>
            <a:ext cx="383857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618A9857-F25D-8362-B5FE-7B59735D5D6D}"/>
              </a:ext>
            </a:extLst>
          </p:cNvPr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8158163" y="4602163"/>
            <a:ext cx="383857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80BE25F-6F2A-0947-864B-69F23572C60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8158163" y="4968000"/>
            <a:ext cx="383857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3B19F7-45F1-9E12-16D4-069C35CB260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4"/>
            </p:custDataLst>
          </p:nvPr>
        </p:nvSpPr>
        <p:spPr>
          <a:xfrm>
            <a:off x="192088" y="4600800"/>
            <a:ext cx="383857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6404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3178705" y="2398713"/>
            <a:ext cx="2844800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92088" y="4600800"/>
            <a:ext cx="2843211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 styles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194400" y="2398713"/>
            <a:ext cx="2844800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9"/>
            </p:custDataLst>
          </p:nvPr>
        </p:nvSpPr>
        <p:spPr>
          <a:xfrm>
            <a:off x="6165322" y="2398713"/>
            <a:ext cx="2844800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59683E-71F7-7EFC-C2CB-BAB4E78B904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0"/>
            </p:custDataLst>
          </p:nvPr>
        </p:nvSpPr>
        <p:spPr>
          <a:xfrm>
            <a:off x="192088" y="4968000"/>
            <a:ext cx="2843211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D6A9F03-67F8-D8BB-CBDC-75069709F3D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11"/>
            </p:custDataLst>
          </p:nvPr>
        </p:nvSpPr>
        <p:spPr>
          <a:xfrm>
            <a:off x="3179234" y="4600800"/>
            <a:ext cx="2843211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 styles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D18AAB-5EDD-CC8D-430E-2D26F593788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12"/>
            </p:custDataLst>
          </p:nvPr>
        </p:nvSpPr>
        <p:spPr>
          <a:xfrm>
            <a:off x="3179234" y="4968000"/>
            <a:ext cx="2843211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618A9857-F25D-8362-B5FE-7B59735D5D6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3"/>
            </p:custDataLst>
          </p:nvPr>
        </p:nvSpPr>
        <p:spPr>
          <a:xfrm>
            <a:off x="6166380" y="4600800"/>
            <a:ext cx="2843211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 style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80BE25F-6F2A-0947-864B-69F23572C60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4"/>
            </p:custDataLst>
          </p:nvPr>
        </p:nvSpPr>
        <p:spPr>
          <a:xfrm>
            <a:off x="6166380" y="4968000"/>
            <a:ext cx="2843211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EF0EFFB-C079-DBCC-39B4-F21BB6D8DDAE}"/>
              </a:ext>
            </a:extLst>
          </p:cNvPr>
          <p:cNvSpPr>
            <a:spLocks noGrp="1"/>
          </p:cNvSpPr>
          <p:nvPr>
            <p:ph type="pic" sz="quarter" idx="23"/>
            <p:custDataLst>
              <p:tags r:id="rId15"/>
            </p:custDataLst>
          </p:nvPr>
        </p:nvSpPr>
        <p:spPr>
          <a:xfrm>
            <a:off x="9151938" y="2398713"/>
            <a:ext cx="2844800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20559CE-27A4-DAB5-E547-FD4B1DE338DE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6"/>
            </p:custDataLst>
          </p:nvPr>
        </p:nvSpPr>
        <p:spPr>
          <a:xfrm>
            <a:off x="9153525" y="4600800"/>
            <a:ext cx="2843211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 styles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6C167B8-68D8-7512-2689-42E1B65673F5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17"/>
            </p:custDataLst>
          </p:nvPr>
        </p:nvSpPr>
        <p:spPr>
          <a:xfrm>
            <a:off x="9153525" y="4968000"/>
            <a:ext cx="2843211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089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2185298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9367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194400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9"/>
            </p:custDataLst>
          </p:nvPr>
        </p:nvSpPr>
        <p:spPr>
          <a:xfrm>
            <a:off x="4176196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59683E-71F7-7EFC-C2CB-BAB4E78B904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0"/>
            </p:custDataLst>
          </p:nvPr>
        </p:nvSpPr>
        <p:spPr>
          <a:xfrm>
            <a:off x="19367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D6A9F03-67F8-D8BB-CBDC-75069709F3D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11"/>
            </p:custDataLst>
          </p:nvPr>
        </p:nvSpPr>
        <p:spPr>
          <a:xfrm>
            <a:off x="218503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D18AAB-5EDD-CC8D-430E-2D26F593788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12"/>
            </p:custDataLst>
          </p:nvPr>
        </p:nvSpPr>
        <p:spPr>
          <a:xfrm>
            <a:off x="218503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618A9857-F25D-8362-B5FE-7B59735D5D6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3"/>
            </p:custDataLst>
          </p:nvPr>
        </p:nvSpPr>
        <p:spPr>
          <a:xfrm>
            <a:off x="417639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80BE25F-6F2A-0947-864B-69F23572C60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4"/>
            </p:custDataLst>
          </p:nvPr>
        </p:nvSpPr>
        <p:spPr>
          <a:xfrm>
            <a:off x="417639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EF0EFFB-C079-DBCC-39B4-F21BB6D8DDAE}"/>
              </a:ext>
            </a:extLst>
          </p:cNvPr>
          <p:cNvSpPr>
            <a:spLocks noGrp="1"/>
          </p:cNvSpPr>
          <p:nvPr>
            <p:ph type="pic" sz="quarter" idx="23"/>
            <p:custDataLst>
              <p:tags r:id="rId15"/>
            </p:custDataLst>
          </p:nvPr>
        </p:nvSpPr>
        <p:spPr>
          <a:xfrm>
            <a:off x="6167094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20559CE-27A4-DAB5-E547-FD4B1DE338DE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6"/>
            </p:custDataLst>
          </p:nvPr>
        </p:nvSpPr>
        <p:spPr>
          <a:xfrm>
            <a:off x="616775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6C167B8-68D8-7512-2689-42E1B65673F5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17"/>
            </p:custDataLst>
          </p:nvPr>
        </p:nvSpPr>
        <p:spPr>
          <a:xfrm>
            <a:off x="616775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D379E07A-731B-40E4-2DEF-558CBF37AAC0}"/>
              </a:ext>
            </a:extLst>
          </p:cNvPr>
          <p:cNvSpPr>
            <a:spLocks noGrp="1"/>
          </p:cNvSpPr>
          <p:nvPr>
            <p:ph type="pic" sz="quarter" idx="26"/>
            <p:custDataLst>
              <p:tags r:id="rId18"/>
            </p:custDataLst>
          </p:nvPr>
        </p:nvSpPr>
        <p:spPr>
          <a:xfrm>
            <a:off x="8157992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93AC187-70EC-34C9-C1B5-C99554DCD2EC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9"/>
            </p:custDataLst>
          </p:nvPr>
        </p:nvSpPr>
        <p:spPr>
          <a:xfrm>
            <a:off x="815911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F9B488D-EB91-4DDE-DF26-27EF633D629D}"/>
              </a:ext>
            </a:extLst>
          </p:cNvPr>
          <p:cNvSpPr>
            <a:spLocks noGrp="1"/>
          </p:cNvSpPr>
          <p:nvPr>
            <p:ph type="body" sz="quarter" idx="28"/>
            <p:custDataLst>
              <p:tags r:id="rId20"/>
            </p:custDataLst>
          </p:nvPr>
        </p:nvSpPr>
        <p:spPr>
          <a:xfrm>
            <a:off x="815911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7AE129A5-D47D-8021-3F96-21562B8F9528}"/>
              </a:ext>
            </a:extLst>
          </p:cNvPr>
          <p:cNvSpPr>
            <a:spLocks noGrp="1"/>
          </p:cNvSpPr>
          <p:nvPr>
            <p:ph type="pic" sz="quarter" idx="29"/>
            <p:custDataLst>
              <p:tags r:id="rId21"/>
            </p:custDataLst>
          </p:nvPr>
        </p:nvSpPr>
        <p:spPr>
          <a:xfrm>
            <a:off x="10148888" y="2398713"/>
            <a:ext cx="1849438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B220BBD-67E8-2322-A7BA-57B30889073F}"/>
              </a:ext>
            </a:extLst>
          </p:cNvPr>
          <p:cNvSpPr>
            <a:spLocks noGrp="1"/>
          </p:cNvSpPr>
          <p:nvPr>
            <p:ph type="body" sz="quarter" idx="30" hasCustomPrompt="1"/>
            <p:custDataLst>
              <p:tags r:id="rId22"/>
            </p:custDataLst>
          </p:nvPr>
        </p:nvSpPr>
        <p:spPr>
          <a:xfrm>
            <a:off x="10150475" y="4600800"/>
            <a:ext cx="184840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Click to edit text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0E36FFD-E526-FC11-B2C6-900D02FB3AC2}"/>
              </a:ext>
            </a:extLst>
          </p:cNvPr>
          <p:cNvSpPr>
            <a:spLocks noGrp="1"/>
          </p:cNvSpPr>
          <p:nvPr>
            <p:ph type="body" sz="quarter" idx="31"/>
            <p:custDataLst>
              <p:tags r:id="rId23"/>
            </p:custDataLst>
          </p:nvPr>
        </p:nvSpPr>
        <p:spPr>
          <a:xfrm>
            <a:off x="10150475" y="4968000"/>
            <a:ext cx="1848405" cy="131503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6696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Numbers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5" y="3148827"/>
            <a:ext cx="383857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5" y="4968000"/>
            <a:ext cx="3838575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176713" y="3148827"/>
            <a:ext cx="3836987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176157" y="4968000"/>
            <a:ext cx="383698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8158163" y="3148827"/>
            <a:ext cx="383857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8158163" y="4968000"/>
            <a:ext cx="3836429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5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4176157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8157605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4486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Numbers Proces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5" y="3148827"/>
            <a:ext cx="383857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5" y="4968000"/>
            <a:ext cx="3838575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178300" y="3148827"/>
            <a:ext cx="3836987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176157" y="4968000"/>
            <a:ext cx="383698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8158163" y="3148827"/>
            <a:ext cx="383857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8158163" y="4968000"/>
            <a:ext cx="3836429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5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4176157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8157605" y="4600800"/>
            <a:ext cx="3836987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6274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tar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929F8-B9EB-0474-1562-E834B374A067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 bwMode="white">
          <a:xfrm>
            <a:off x="193675" y="1152525"/>
            <a:ext cx="5830887" cy="2062800"/>
          </a:xfrm>
        </p:spPr>
        <p:txBody>
          <a:bodyPr anchor="b">
            <a:noAutofit/>
          </a:bodyPr>
          <a:lstStyle>
            <a:lvl1pPr algn="l">
              <a:defRPr sz="4800" spc="-7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A66286-29C4-D74C-6A1A-1E46E86C328B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 bwMode="white">
          <a:xfrm>
            <a:off x="193676" y="3509963"/>
            <a:ext cx="4835524" cy="2049462"/>
          </a:xfrm>
        </p:spPr>
        <p:txBody>
          <a:bodyPr/>
          <a:lstStyle>
            <a:lvl1pPr marL="0" indent="0" algn="l">
              <a:lnSpc>
                <a:spcPct val="105000"/>
              </a:lnSpc>
              <a:spcBef>
                <a:spcPts val="0"/>
              </a:spcBef>
              <a:buNone/>
              <a:defRPr sz="16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CFE7-D391-398C-1C33-953CBB8A179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 bwMode="white"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891CF-20B6-0EB1-1074-AB87235D15B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 bwMode="white"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812492-44A1-BE39-BFCD-FA4FA99EBFA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 bwMode="white"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!!Logo">
            <a:extLst>
              <a:ext uri="{FF2B5EF4-FFF2-40B4-BE49-F238E27FC236}">
                <a16:creationId xmlns:a16="http://schemas.microsoft.com/office/drawing/2014/main" id="{66B235CD-31E9-A08E-45AB-6F7FBF8FA391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93676" y="196850"/>
            <a:ext cx="854075" cy="200174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4060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Numbers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5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5" y="4968000"/>
            <a:ext cx="284321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180684" y="3148827"/>
            <a:ext cx="284203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3181214" y="4968000"/>
            <a:ext cx="2842035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6166517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6167577" y="4968000"/>
            <a:ext cx="284162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5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3180106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6166537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D68B6D0-0040-D2CC-29E8-94285266CAA3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5"/>
            </p:custDataLst>
          </p:nvPr>
        </p:nvSpPr>
        <p:spPr>
          <a:xfrm>
            <a:off x="9153525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4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2CCEEB2-9F44-FB3C-5A4E-0BB001BEDB6E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6"/>
            </p:custDataLst>
          </p:nvPr>
        </p:nvSpPr>
        <p:spPr>
          <a:xfrm>
            <a:off x="9153525" y="4968000"/>
            <a:ext cx="284162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6AF8A4-1D77-D67A-78DA-FAA99A823A44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17"/>
            </p:custDataLst>
          </p:nvPr>
        </p:nvSpPr>
        <p:spPr>
          <a:xfrm>
            <a:off x="9152967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1056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Numbers Proces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5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5" y="4968000"/>
            <a:ext cx="284321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179763" y="3148827"/>
            <a:ext cx="2842035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3177620" y="4968000"/>
            <a:ext cx="2842035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6170762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6170762" y="4968000"/>
            <a:ext cx="284162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5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3177620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6170204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D68B6D0-0040-D2CC-29E8-94285266CAA3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5"/>
            </p:custDataLst>
          </p:nvPr>
        </p:nvSpPr>
        <p:spPr>
          <a:xfrm>
            <a:off x="9153525" y="3148827"/>
            <a:ext cx="2843211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4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2CCEEB2-9F44-FB3C-5A4E-0BB001BEDB6E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6"/>
            </p:custDataLst>
          </p:nvPr>
        </p:nvSpPr>
        <p:spPr>
          <a:xfrm>
            <a:off x="9153525" y="4968000"/>
            <a:ext cx="2841621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6AF8A4-1D77-D67A-78DA-FAA99A823A44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17"/>
            </p:custDataLst>
          </p:nvPr>
        </p:nvSpPr>
        <p:spPr>
          <a:xfrm>
            <a:off x="9152967" y="4600800"/>
            <a:ext cx="2842035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1588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Numbers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6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6" y="4968000"/>
            <a:ext cx="1847850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2184983" y="3148827"/>
            <a:ext cx="1847086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2185602" y="4968000"/>
            <a:ext cx="1847086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4175526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4176764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6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2184718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4175760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D68B6D0-0040-D2CC-29E8-94285266CAA3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5"/>
            </p:custDataLst>
          </p:nvPr>
        </p:nvSpPr>
        <p:spPr>
          <a:xfrm>
            <a:off x="6166833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4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2CCEEB2-9F44-FB3C-5A4E-0BB001BEDB6E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6"/>
            </p:custDataLst>
          </p:nvPr>
        </p:nvSpPr>
        <p:spPr>
          <a:xfrm>
            <a:off x="6167657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6AF8A4-1D77-D67A-78DA-FAA99A823A44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17"/>
            </p:custDataLst>
          </p:nvPr>
        </p:nvSpPr>
        <p:spPr>
          <a:xfrm>
            <a:off x="6166802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434F135-6BD8-EF71-97EF-BB633FDBAAAF}"/>
              </a:ext>
            </a:extLst>
          </p:cNvPr>
          <p:cNvSpPr>
            <a:spLocks noGrp="1"/>
          </p:cNvSpPr>
          <p:nvPr>
            <p:ph type="body" sz="quarter" idx="29" hasCustomPrompt="1"/>
            <p:custDataLst>
              <p:tags r:id="rId18"/>
            </p:custDataLst>
          </p:nvPr>
        </p:nvSpPr>
        <p:spPr>
          <a:xfrm>
            <a:off x="8158140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5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9A4D428-BCB6-77E4-60CF-42850E702343}"/>
              </a:ext>
            </a:extLst>
          </p:cNvPr>
          <p:cNvSpPr>
            <a:spLocks noGrp="1"/>
          </p:cNvSpPr>
          <p:nvPr>
            <p:ph type="body" sz="quarter" idx="30" hasCustomPrompt="1"/>
            <p:custDataLst>
              <p:tags r:id="rId19"/>
            </p:custDataLst>
          </p:nvPr>
        </p:nvSpPr>
        <p:spPr>
          <a:xfrm>
            <a:off x="8158550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7B46297-2251-C7E7-6FA4-2CE1529BA337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20"/>
            </p:custDataLst>
          </p:nvPr>
        </p:nvSpPr>
        <p:spPr>
          <a:xfrm>
            <a:off x="8157844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54F9E36-20DF-219E-5BDD-DF0CE485BA1F}"/>
              </a:ext>
            </a:extLst>
          </p:cNvPr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10149446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6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E0F95DB-788E-E2B7-76E8-5E66D1408EE5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2"/>
            </p:custDataLst>
          </p:nvPr>
        </p:nvSpPr>
        <p:spPr>
          <a:xfrm>
            <a:off x="10149445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F9184EF-9862-955A-8DE5-8A21FF1B18AA}"/>
              </a:ext>
            </a:extLst>
          </p:cNvPr>
          <p:cNvSpPr>
            <a:spLocks noGrp="1"/>
          </p:cNvSpPr>
          <p:nvPr>
            <p:ph type="body" sz="quarter" idx="34" hasCustomPrompt="1"/>
            <p:custDataLst>
              <p:tags r:id="rId23"/>
            </p:custDataLst>
          </p:nvPr>
        </p:nvSpPr>
        <p:spPr>
          <a:xfrm>
            <a:off x="10148888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763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Numbers Proces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AC08A-0E68-733E-D687-06F4EBE1D118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93676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1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93676" y="4968000"/>
            <a:ext cx="1847850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C3E4D-BA39-E705-EEFF-7BB88DF07EC7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2186543" y="3148827"/>
            <a:ext cx="1847086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2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2184400" y="4968000"/>
            <a:ext cx="1847086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02A1415-43BF-019A-1574-423717D364C7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4174360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3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4174359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CB5F7-DEF3-D142-E369-A6EDAE08FF1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193676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565FF8-1AFE-460A-9AA1-A21C1FE3C40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3"/>
            </p:custDataLst>
          </p:nvPr>
        </p:nvSpPr>
        <p:spPr>
          <a:xfrm>
            <a:off x="2184400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6DBCF42-0702-06F6-075D-7CEB7A76374F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4"/>
            </p:custDataLst>
          </p:nvPr>
        </p:nvSpPr>
        <p:spPr>
          <a:xfrm>
            <a:off x="4173802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D68B6D0-0040-D2CC-29E8-94285266CAA3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5"/>
            </p:custDataLst>
          </p:nvPr>
        </p:nvSpPr>
        <p:spPr>
          <a:xfrm>
            <a:off x="6170350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4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2CCEEB2-9F44-FB3C-5A4E-0BB001BEDB6E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6"/>
            </p:custDataLst>
          </p:nvPr>
        </p:nvSpPr>
        <p:spPr>
          <a:xfrm>
            <a:off x="6170349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6AF8A4-1D77-D67A-78DA-FAA99A823A44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17"/>
            </p:custDataLst>
          </p:nvPr>
        </p:nvSpPr>
        <p:spPr>
          <a:xfrm>
            <a:off x="6169792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434F135-6BD8-EF71-97EF-BB633FDBAAAF}"/>
              </a:ext>
            </a:extLst>
          </p:cNvPr>
          <p:cNvSpPr>
            <a:spLocks noGrp="1"/>
          </p:cNvSpPr>
          <p:nvPr>
            <p:ph type="body" sz="quarter" idx="29" hasCustomPrompt="1"/>
            <p:custDataLst>
              <p:tags r:id="rId18"/>
            </p:custDataLst>
          </p:nvPr>
        </p:nvSpPr>
        <p:spPr>
          <a:xfrm>
            <a:off x="8157607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5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9A4D428-BCB6-77E4-60CF-42850E702343}"/>
              </a:ext>
            </a:extLst>
          </p:cNvPr>
          <p:cNvSpPr>
            <a:spLocks noGrp="1"/>
          </p:cNvSpPr>
          <p:nvPr>
            <p:ph type="body" sz="quarter" idx="30" hasCustomPrompt="1"/>
            <p:custDataLst>
              <p:tags r:id="rId19"/>
            </p:custDataLst>
          </p:nvPr>
        </p:nvSpPr>
        <p:spPr>
          <a:xfrm>
            <a:off x="8157606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7B46297-2251-C7E7-6FA4-2CE1529BA337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20"/>
            </p:custDataLst>
          </p:nvPr>
        </p:nvSpPr>
        <p:spPr>
          <a:xfrm>
            <a:off x="8157049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54F9E36-20DF-219E-5BDD-DF0CE485BA1F}"/>
              </a:ext>
            </a:extLst>
          </p:cNvPr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10149446" y="3148827"/>
            <a:ext cx="1847850" cy="1308873"/>
          </a:xfrm>
        </p:spPr>
        <p:txBody>
          <a:bodyPr lIns="0" bIns="0" anchor="t" anchorCtr="0"/>
          <a:lstStyle>
            <a:lvl1pPr marL="0" indent="0" algn="l">
              <a:buFontTx/>
              <a:buNone/>
              <a:defRPr sz="10800" spc="0" baseline="0">
                <a:latin typeface="+mj-lt"/>
              </a:defRPr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6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E0F95DB-788E-E2B7-76E8-5E66D1408EE5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2"/>
            </p:custDataLst>
          </p:nvPr>
        </p:nvSpPr>
        <p:spPr>
          <a:xfrm>
            <a:off x="10149445" y="4968000"/>
            <a:ext cx="1846817" cy="11988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F9184EF-9862-955A-8DE5-8A21FF1B18AA}"/>
              </a:ext>
            </a:extLst>
          </p:cNvPr>
          <p:cNvSpPr>
            <a:spLocks noGrp="1"/>
          </p:cNvSpPr>
          <p:nvPr>
            <p:ph type="body" sz="quarter" idx="34" hasCustomPrompt="1"/>
            <p:custDataLst>
              <p:tags r:id="rId23"/>
            </p:custDataLst>
          </p:nvPr>
        </p:nvSpPr>
        <p:spPr>
          <a:xfrm>
            <a:off x="10148888" y="4600800"/>
            <a:ext cx="1847086" cy="244800"/>
          </a:xfrm>
        </p:spPr>
        <p:txBody>
          <a:bodyPr/>
          <a:lstStyle>
            <a:lvl1pPr marL="0" indent="0">
              <a:buFontTx/>
              <a:buNone/>
              <a:defRPr sz="1600" spc="0" baseline="0">
                <a:latin typeface="+mj-lt"/>
              </a:defRPr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0132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9AC60C44-A8F6-D398-E5C1-AC0CC7CAD159}"/>
              </a:ext>
            </a:extLst>
          </p:cNvPr>
          <p:cNvSpPr>
            <a:spLocks noGrp="1"/>
          </p:cNvSpPr>
          <p:nvPr>
            <p:ph type="chart" sz="quarter" idx="15"/>
            <p:custDataLst>
              <p:tags r:id="rId1"/>
            </p:custDataLst>
          </p:nvPr>
        </p:nvSpPr>
        <p:spPr>
          <a:xfrm>
            <a:off x="4175125" y="1296988"/>
            <a:ext cx="7821613" cy="5364162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31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harts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9AC60C44-A8F6-D398-E5C1-AC0CC7CAD159}"/>
              </a:ext>
            </a:extLst>
          </p:cNvPr>
          <p:cNvSpPr>
            <a:spLocks noGrp="1"/>
          </p:cNvSpPr>
          <p:nvPr>
            <p:ph type="chart" sz="quarter" idx="15"/>
            <p:custDataLst>
              <p:tags r:id="rId1"/>
            </p:custDataLst>
          </p:nvPr>
        </p:nvSpPr>
        <p:spPr>
          <a:xfrm>
            <a:off x="4175125" y="195264"/>
            <a:ext cx="3840163" cy="3160712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6" name="Chart Placeholder 9">
            <a:extLst>
              <a:ext uri="{FF2B5EF4-FFF2-40B4-BE49-F238E27FC236}">
                <a16:creationId xmlns:a16="http://schemas.microsoft.com/office/drawing/2014/main" id="{B8DFDF3E-3D68-0C30-3B5E-17D5B77AAF95}"/>
              </a:ext>
            </a:extLst>
          </p:cNvPr>
          <p:cNvSpPr>
            <a:spLocks noGrp="1"/>
          </p:cNvSpPr>
          <p:nvPr>
            <p:ph type="chart" sz="quarter" idx="16"/>
            <p:custDataLst>
              <p:tags r:id="rId8"/>
            </p:custDataLst>
          </p:nvPr>
        </p:nvSpPr>
        <p:spPr>
          <a:xfrm>
            <a:off x="8156575" y="195264"/>
            <a:ext cx="3840163" cy="3160712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9"/>
            </p:custDataLst>
          </p:nvPr>
        </p:nvSpPr>
        <p:spPr>
          <a:xfrm>
            <a:off x="4175125" y="3500438"/>
            <a:ext cx="7821613" cy="2671075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441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3499200"/>
            <a:ext cx="3838575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7"/>
            </p:custDataLst>
          </p:nvPr>
        </p:nvSpPr>
        <p:spPr>
          <a:xfrm>
            <a:off x="5170488" y="2398714"/>
            <a:ext cx="6826250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4993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roducts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2398713"/>
            <a:ext cx="3838575" cy="958849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180000" indent="0">
              <a:buFontTx/>
              <a:buNone/>
              <a:defRPr/>
            </a:lvl2pPr>
            <a:lvl3pPr marL="356400" indent="0">
              <a:buFontTx/>
              <a:buNone/>
              <a:defRPr/>
            </a:lvl3pPr>
            <a:lvl4pPr marL="356400" indent="0">
              <a:buFontTx/>
              <a:buNone/>
              <a:defRPr/>
            </a:lvl4pPr>
            <a:lvl5pPr marL="3564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7"/>
            </p:custDataLst>
          </p:nvPr>
        </p:nvSpPr>
        <p:spPr>
          <a:xfrm>
            <a:off x="6165850" y="2398714"/>
            <a:ext cx="5830888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533F694-E97B-1042-359B-632202BB71AF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193674" y="3500438"/>
            <a:ext cx="2843213" cy="26710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966CE510-9E0E-CA18-BBD3-FC9AF50B1960}"/>
              </a:ext>
            </a:extLst>
          </p:cNvPr>
          <p:cNvSpPr>
            <a:spLocks noGrp="1"/>
          </p:cNvSpPr>
          <p:nvPr>
            <p:ph type="pic" sz="quarter" idx="18"/>
            <p:custDataLst>
              <p:tags r:id="rId9"/>
            </p:custDataLst>
          </p:nvPr>
        </p:nvSpPr>
        <p:spPr>
          <a:xfrm>
            <a:off x="3182938" y="3500438"/>
            <a:ext cx="2843213" cy="26710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1651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able and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5832475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7161213" y="1303021"/>
            <a:ext cx="4835524" cy="951229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180000" indent="0">
              <a:buFontTx/>
              <a:buNone/>
              <a:defRPr/>
            </a:lvl2pPr>
            <a:lvl3pPr marL="356400" indent="0">
              <a:buFontTx/>
              <a:buNone/>
              <a:defRPr/>
            </a:lvl3pPr>
            <a:lvl4pPr marL="356400" indent="0">
              <a:buFontTx/>
              <a:buNone/>
              <a:defRPr/>
            </a:lvl4pPr>
            <a:lvl5pPr marL="3564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7"/>
            </p:custDataLst>
          </p:nvPr>
        </p:nvSpPr>
        <p:spPr>
          <a:xfrm>
            <a:off x="193676" y="2398713"/>
            <a:ext cx="5830888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533F694-E97B-1042-359B-632202BB71AF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7161213" y="2398714"/>
            <a:ext cx="4835526" cy="37728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63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E2A74-0DCE-698A-5CFD-2095E22262F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5" y="1152525"/>
            <a:ext cx="6826249" cy="4406900"/>
          </a:xfrm>
          <a:noFill/>
        </p:spPr>
        <p:txBody>
          <a:bodyPr/>
          <a:lstStyle>
            <a:lvl1pPr>
              <a:defRPr spc="-50" baseline="0"/>
            </a:lvl1pPr>
          </a:lstStyle>
          <a:p>
            <a:r>
              <a:rPr lang="en-GB"/>
              <a:t>“Quote”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11B9AB-9661-525A-B670-E832A8553AD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08D976-FEA8-7712-75F2-4C5AD50C4A5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166764-6485-C03F-3AF9-98D3281E992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Freeform 15">
            <a:extLst>
              <a:ext uri="{FF2B5EF4-FFF2-40B4-BE49-F238E27FC236}">
                <a16:creationId xmlns:a16="http://schemas.microsoft.com/office/drawing/2014/main" id="{5EF5D7BE-0F5E-3308-82D2-EB7838FD806A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invGray">
          <a:xfrm>
            <a:off x="10153650" y="5304716"/>
            <a:ext cx="1852614" cy="1364364"/>
          </a:xfrm>
          <a:custGeom>
            <a:avLst/>
            <a:gdLst>
              <a:gd name="connsiteX0" fmla="*/ 0 w 1622568"/>
              <a:gd name="connsiteY0" fmla="*/ 590900 h 1194947"/>
              <a:gd name="connsiteX1" fmla="*/ 0 w 1622568"/>
              <a:gd name="connsiteY1" fmla="*/ 81640 h 1194947"/>
              <a:gd name="connsiteX2" fmla="*/ 81640 w 1622568"/>
              <a:gd name="connsiteY2" fmla="*/ 0 h 1194947"/>
              <a:gd name="connsiteX3" fmla="*/ 620290 w 1622568"/>
              <a:gd name="connsiteY3" fmla="*/ 0 h 1194947"/>
              <a:gd name="connsiteX4" fmla="*/ 701930 w 1622568"/>
              <a:gd name="connsiteY4" fmla="*/ 81640 h 1194947"/>
              <a:gd name="connsiteX5" fmla="*/ 701930 w 1622568"/>
              <a:gd name="connsiteY5" fmla="*/ 617024 h 1194947"/>
              <a:gd name="connsiteX6" fmla="*/ 672539 w 1622568"/>
              <a:gd name="connsiteY6" fmla="*/ 718257 h 1194947"/>
              <a:gd name="connsiteX7" fmla="*/ 417909 w 1622568"/>
              <a:gd name="connsiteY7" fmla="*/ 1139433 h 1194947"/>
              <a:gd name="connsiteX8" fmla="*/ 319942 w 1622568"/>
              <a:gd name="connsiteY8" fmla="*/ 1194947 h 1194947"/>
              <a:gd name="connsiteX9" fmla="*/ 143686 w 1622568"/>
              <a:gd name="connsiteY9" fmla="*/ 1194947 h 1194947"/>
              <a:gd name="connsiteX10" fmla="*/ 88171 w 1622568"/>
              <a:gd name="connsiteY10" fmla="*/ 1096980 h 1194947"/>
              <a:gd name="connsiteX11" fmla="*/ 290552 w 1622568"/>
              <a:gd name="connsiteY11" fmla="*/ 731320 h 1194947"/>
              <a:gd name="connsiteX12" fmla="*/ 257896 w 1622568"/>
              <a:gd name="connsiteY12" fmla="*/ 672539 h 1194947"/>
              <a:gd name="connsiteX13" fmla="*/ 81640 w 1622568"/>
              <a:gd name="connsiteY13" fmla="*/ 672539 h 1194947"/>
              <a:gd name="connsiteX14" fmla="*/ 0 w 1622568"/>
              <a:gd name="connsiteY14" fmla="*/ 590900 h 1194947"/>
              <a:gd name="connsiteX15" fmla="*/ 920638 w 1622568"/>
              <a:gd name="connsiteY15" fmla="*/ 590900 h 1194947"/>
              <a:gd name="connsiteX16" fmla="*/ 920638 w 1622568"/>
              <a:gd name="connsiteY16" fmla="*/ 81640 h 1194947"/>
              <a:gd name="connsiteX17" fmla="*/ 1002278 w 1622568"/>
              <a:gd name="connsiteY17" fmla="*/ 0 h 1194947"/>
              <a:gd name="connsiteX18" fmla="*/ 1540928 w 1622568"/>
              <a:gd name="connsiteY18" fmla="*/ 0 h 1194947"/>
              <a:gd name="connsiteX19" fmla="*/ 1622568 w 1622568"/>
              <a:gd name="connsiteY19" fmla="*/ 81640 h 1194947"/>
              <a:gd name="connsiteX20" fmla="*/ 1622568 w 1622568"/>
              <a:gd name="connsiteY20" fmla="*/ 617024 h 1194947"/>
              <a:gd name="connsiteX21" fmla="*/ 1593177 w 1622568"/>
              <a:gd name="connsiteY21" fmla="*/ 718257 h 1194947"/>
              <a:gd name="connsiteX22" fmla="*/ 1338547 w 1622568"/>
              <a:gd name="connsiteY22" fmla="*/ 1139433 h 1194947"/>
              <a:gd name="connsiteX23" fmla="*/ 1240580 w 1622568"/>
              <a:gd name="connsiteY23" fmla="*/ 1194947 h 1194947"/>
              <a:gd name="connsiteX24" fmla="*/ 1064324 w 1622568"/>
              <a:gd name="connsiteY24" fmla="*/ 1194947 h 1194947"/>
              <a:gd name="connsiteX25" fmla="*/ 1008809 w 1622568"/>
              <a:gd name="connsiteY25" fmla="*/ 1096980 h 1194947"/>
              <a:gd name="connsiteX26" fmla="*/ 1211190 w 1622568"/>
              <a:gd name="connsiteY26" fmla="*/ 731320 h 1194947"/>
              <a:gd name="connsiteX27" fmla="*/ 1178534 w 1622568"/>
              <a:gd name="connsiteY27" fmla="*/ 672539 h 1194947"/>
              <a:gd name="connsiteX28" fmla="*/ 1002278 w 1622568"/>
              <a:gd name="connsiteY28" fmla="*/ 672539 h 1194947"/>
              <a:gd name="connsiteX29" fmla="*/ 920638 w 1622568"/>
              <a:gd name="connsiteY29" fmla="*/ 590900 h 1194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622568" h="1194947">
                <a:moveTo>
                  <a:pt x="0" y="590900"/>
                </a:moveTo>
                <a:lnTo>
                  <a:pt x="0" y="81640"/>
                </a:lnTo>
                <a:cubicBezTo>
                  <a:pt x="0" y="29390"/>
                  <a:pt x="29391" y="0"/>
                  <a:pt x="81640" y="0"/>
                </a:cubicBezTo>
                <a:lnTo>
                  <a:pt x="620290" y="0"/>
                </a:lnTo>
                <a:cubicBezTo>
                  <a:pt x="672539" y="0"/>
                  <a:pt x="701930" y="29390"/>
                  <a:pt x="701930" y="81640"/>
                </a:cubicBezTo>
                <a:lnTo>
                  <a:pt x="701930" y="617024"/>
                </a:lnTo>
                <a:cubicBezTo>
                  <a:pt x="701930" y="656211"/>
                  <a:pt x="692133" y="682336"/>
                  <a:pt x="672539" y="718257"/>
                </a:cubicBezTo>
                <a:lnTo>
                  <a:pt x="417909" y="1139433"/>
                </a:lnTo>
                <a:cubicBezTo>
                  <a:pt x="395050" y="1175354"/>
                  <a:pt x="362395" y="1194947"/>
                  <a:pt x="319942" y="1194947"/>
                </a:cubicBezTo>
                <a:lnTo>
                  <a:pt x="143686" y="1194947"/>
                </a:lnTo>
                <a:cubicBezTo>
                  <a:pt x="81640" y="1194947"/>
                  <a:pt x="58781" y="1152495"/>
                  <a:pt x="88171" y="1096980"/>
                </a:cubicBezTo>
                <a:lnTo>
                  <a:pt x="290552" y="731320"/>
                </a:lnTo>
                <a:cubicBezTo>
                  <a:pt x="310145" y="695399"/>
                  <a:pt x="293817" y="672539"/>
                  <a:pt x="257896" y="672539"/>
                </a:cubicBezTo>
                <a:lnTo>
                  <a:pt x="81640" y="672539"/>
                </a:lnTo>
                <a:cubicBezTo>
                  <a:pt x="29391" y="672539"/>
                  <a:pt x="0" y="643149"/>
                  <a:pt x="0" y="590900"/>
                </a:cubicBezTo>
                <a:close/>
                <a:moveTo>
                  <a:pt x="920638" y="590900"/>
                </a:moveTo>
                <a:lnTo>
                  <a:pt x="920638" y="81640"/>
                </a:lnTo>
                <a:cubicBezTo>
                  <a:pt x="920638" y="29390"/>
                  <a:pt x="950029" y="0"/>
                  <a:pt x="1002278" y="0"/>
                </a:cubicBezTo>
                <a:lnTo>
                  <a:pt x="1540928" y="0"/>
                </a:lnTo>
                <a:cubicBezTo>
                  <a:pt x="1593177" y="0"/>
                  <a:pt x="1622568" y="29390"/>
                  <a:pt x="1622568" y="81640"/>
                </a:cubicBezTo>
                <a:lnTo>
                  <a:pt x="1622568" y="617024"/>
                </a:lnTo>
                <a:cubicBezTo>
                  <a:pt x="1622568" y="656211"/>
                  <a:pt x="1612771" y="682336"/>
                  <a:pt x="1593177" y="718257"/>
                </a:cubicBezTo>
                <a:lnTo>
                  <a:pt x="1338547" y="1139433"/>
                </a:lnTo>
                <a:cubicBezTo>
                  <a:pt x="1315688" y="1175354"/>
                  <a:pt x="1283033" y="1194947"/>
                  <a:pt x="1240580" y="1194947"/>
                </a:cubicBezTo>
                <a:lnTo>
                  <a:pt x="1064324" y="1194947"/>
                </a:lnTo>
                <a:cubicBezTo>
                  <a:pt x="1002278" y="1194947"/>
                  <a:pt x="979418" y="1152495"/>
                  <a:pt x="1008809" y="1096980"/>
                </a:cubicBezTo>
                <a:lnTo>
                  <a:pt x="1211190" y="731320"/>
                </a:lnTo>
                <a:cubicBezTo>
                  <a:pt x="1230783" y="695399"/>
                  <a:pt x="1214456" y="672539"/>
                  <a:pt x="1178534" y="672539"/>
                </a:cubicBezTo>
                <a:lnTo>
                  <a:pt x="1002278" y="672539"/>
                </a:lnTo>
                <a:cubicBezTo>
                  <a:pt x="950029" y="672539"/>
                  <a:pt x="920638" y="643149"/>
                  <a:pt x="920638" y="59090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9F8EA27-F110-F3BB-B243-CEF296FE0856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193676" y="5703888"/>
            <a:ext cx="6826248" cy="457200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4495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Full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6B32171-B0A8-B3A0-CCB5-44613AA407B8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96991 w 12192000"/>
              <a:gd name="connsiteY0" fmla="*/ 196850 h 6858000"/>
              <a:gd name="connsiteX1" fmla="*/ 789543 w 12192000"/>
              <a:gd name="connsiteY1" fmla="*/ 204357 h 6858000"/>
              <a:gd name="connsiteX2" fmla="*/ 789543 w 12192000"/>
              <a:gd name="connsiteY2" fmla="*/ 239387 h 6858000"/>
              <a:gd name="connsiteX3" fmla="*/ 796991 w 12192000"/>
              <a:gd name="connsiteY3" fmla="*/ 246894 h 6858000"/>
              <a:gd name="connsiteX4" fmla="*/ 806922 w 12192000"/>
              <a:gd name="connsiteY4" fmla="*/ 246894 h 6858000"/>
              <a:gd name="connsiteX5" fmla="*/ 809405 w 12192000"/>
              <a:gd name="connsiteY5" fmla="*/ 249395 h 6858000"/>
              <a:gd name="connsiteX6" fmla="*/ 809405 w 12192000"/>
              <a:gd name="connsiteY6" fmla="*/ 314453 h 6858000"/>
              <a:gd name="connsiteX7" fmla="*/ 806922 w 12192000"/>
              <a:gd name="connsiteY7" fmla="*/ 316955 h 6858000"/>
              <a:gd name="connsiteX8" fmla="*/ 796991 w 12192000"/>
              <a:gd name="connsiteY8" fmla="*/ 316955 h 6858000"/>
              <a:gd name="connsiteX9" fmla="*/ 789543 w 12192000"/>
              <a:gd name="connsiteY9" fmla="*/ 324461 h 6858000"/>
              <a:gd name="connsiteX10" fmla="*/ 789543 w 12192000"/>
              <a:gd name="connsiteY10" fmla="*/ 389517 h 6858000"/>
              <a:gd name="connsiteX11" fmla="*/ 796991 w 12192000"/>
              <a:gd name="connsiteY11" fmla="*/ 397024 h 6858000"/>
              <a:gd name="connsiteX12" fmla="*/ 891337 w 12192000"/>
              <a:gd name="connsiteY12" fmla="*/ 397024 h 6858000"/>
              <a:gd name="connsiteX13" fmla="*/ 898786 w 12192000"/>
              <a:gd name="connsiteY13" fmla="*/ 389517 h 6858000"/>
              <a:gd name="connsiteX14" fmla="*/ 898786 w 12192000"/>
              <a:gd name="connsiteY14" fmla="*/ 324461 h 6858000"/>
              <a:gd name="connsiteX15" fmla="*/ 891337 w 12192000"/>
              <a:gd name="connsiteY15" fmla="*/ 316955 h 6858000"/>
              <a:gd name="connsiteX16" fmla="*/ 881406 w 12192000"/>
              <a:gd name="connsiteY16" fmla="*/ 316955 h 6858000"/>
              <a:gd name="connsiteX17" fmla="*/ 878923 w 12192000"/>
              <a:gd name="connsiteY17" fmla="*/ 314453 h 6858000"/>
              <a:gd name="connsiteX18" fmla="*/ 878923 w 12192000"/>
              <a:gd name="connsiteY18" fmla="*/ 299439 h 6858000"/>
              <a:gd name="connsiteX19" fmla="*/ 881406 w 12192000"/>
              <a:gd name="connsiteY19" fmla="*/ 296937 h 6858000"/>
              <a:gd name="connsiteX20" fmla="*/ 906234 w 12192000"/>
              <a:gd name="connsiteY20" fmla="*/ 296937 h 6858000"/>
              <a:gd name="connsiteX21" fmla="*/ 908717 w 12192000"/>
              <a:gd name="connsiteY21" fmla="*/ 299382 h 6858000"/>
              <a:gd name="connsiteX22" fmla="*/ 916165 w 12192000"/>
              <a:gd name="connsiteY22" fmla="*/ 306946 h 6858000"/>
              <a:gd name="connsiteX23" fmla="*/ 970787 w 12192000"/>
              <a:gd name="connsiteY23" fmla="*/ 306946 h 6858000"/>
              <a:gd name="connsiteX24" fmla="*/ 978235 w 12192000"/>
              <a:gd name="connsiteY24" fmla="*/ 299439 h 6858000"/>
              <a:gd name="connsiteX25" fmla="*/ 978235 w 12192000"/>
              <a:gd name="connsiteY25" fmla="*/ 264409 h 6858000"/>
              <a:gd name="connsiteX26" fmla="*/ 970787 w 12192000"/>
              <a:gd name="connsiteY26" fmla="*/ 256902 h 6858000"/>
              <a:gd name="connsiteX27" fmla="*/ 916165 w 12192000"/>
              <a:gd name="connsiteY27" fmla="*/ 256902 h 6858000"/>
              <a:gd name="connsiteX28" fmla="*/ 908717 w 12192000"/>
              <a:gd name="connsiteY28" fmla="*/ 264466 h 6858000"/>
              <a:gd name="connsiteX29" fmla="*/ 906234 w 12192000"/>
              <a:gd name="connsiteY29" fmla="*/ 266911 h 6858000"/>
              <a:gd name="connsiteX30" fmla="*/ 881406 w 12192000"/>
              <a:gd name="connsiteY30" fmla="*/ 266911 h 6858000"/>
              <a:gd name="connsiteX31" fmla="*/ 878923 w 12192000"/>
              <a:gd name="connsiteY31" fmla="*/ 264409 h 6858000"/>
              <a:gd name="connsiteX32" fmla="*/ 878923 w 12192000"/>
              <a:gd name="connsiteY32" fmla="*/ 229378 h 6858000"/>
              <a:gd name="connsiteX33" fmla="*/ 881406 w 12192000"/>
              <a:gd name="connsiteY33" fmla="*/ 226876 h 6858000"/>
              <a:gd name="connsiteX34" fmla="*/ 955890 w 12192000"/>
              <a:gd name="connsiteY34" fmla="*/ 226876 h 6858000"/>
              <a:gd name="connsiteX35" fmla="*/ 958373 w 12192000"/>
              <a:gd name="connsiteY35" fmla="*/ 229378 h 6858000"/>
              <a:gd name="connsiteX36" fmla="*/ 958373 w 12192000"/>
              <a:gd name="connsiteY36" fmla="*/ 239387 h 6858000"/>
              <a:gd name="connsiteX37" fmla="*/ 965821 w 12192000"/>
              <a:gd name="connsiteY37" fmla="*/ 246894 h 6858000"/>
              <a:gd name="connsiteX38" fmla="*/ 1040304 w 12192000"/>
              <a:gd name="connsiteY38" fmla="*/ 246894 h 6858000"/>
              <a:gd name="connsiteX39" fmla="*/ 1047752 w 12192000"/>
              <a:gd name="connsiteY39" fmla="*/ 239387 h 6858000"/>
              <a:gd name="connsiteX40" fmla="*/ 1047752 w 12192000"/>
              <a:gd name="connsiteY40" fmla="*/ 204357 h 6858000"/>
              <a:gd name="connsiteX41" fmla="*/ 1040304 w 12192000"/>
              <a:gd name="connsiteY41" fmla="*/ 196850 h 6858000"/>
              <a:gd name="connsiteX42" fmla="*/ 499059 w 12192000"/>
              <a:gd name="connsiteY42" fmla="*/ 196850 h 6858000"/>
              <a:gd name="connsiteX43" fmla="*/ 491611 w 12192000"/>
              <a:gd name="connsiteY43" fmla="*/ 204357 h 6858000"/>
              <a:gd name="connsiteX44" fmla="*/ 491611 w 12192000"/>
              <a:gd name="connsiteY44" fmla="*/ 239387 h 6858000"/>
              <a:gd name="connsiteX45" fmla="*/ 499059 w 12192000"/>
              <a:gd name="connsiteY45" fmla="*/ 246894 h 6858000"/>
              <a:gd name="connsiteX46" fmla="*/ 508990 w 12192000"/>
              <a:gd name="connsiteY46" fmla="*/ 246894 h 6858000"/>
              <a:gd name="connsiteX47" fmla="*/ 511473 w 12192000"/>
              <a:gd name="connsiteY47" fmla="*/ 249395 h 6858000"/>
              <a:gd name="connsiteX48" fmla="*/ 511473 w 12192000"/>
              <a:gd name="connsiteY48" fmla="*/ 314453 h 6858000"/>
              <a:gd name="connsiteX49" fmla="*/ 508990 w 12192000"/>
              <a:gd name="connsiteY49" fmla="*/ 316955 h 6858000"/>
              <a:gd name="connsiteX50" fmla="*/ 499059 w 12192000"/>
              <a:gd name="connsiteY50" fmla="*/ 316955 h 6858000"/>
              <a:gd name="connsiteX51" fmla="*/ 491611 w 12192000"/>
              <a:gd name="connsiteY51" fmla="*/ 324461 h 6858000"/>
              <a:gd name="connsiteX52" fmla="*/ 491611 w 12192000"/>
              <a:gd name="connsiteY52" fmla="*/ 389517 h 6858000"/>
              <a:gd name="connsiteX53" fmla="*/ 499059 w 12192000"/>
              <a:gd name="connsiteY53" fmla="*/ 397024 h 6858000"/>
              <a:gd name="connsiteX54" fmla="*/ 573542 w 12192000"/>
              <a:gd name="connsiteY54" fmla="*/ 397024 h 6858000"/>
              <a:gd name="connsiteX55" fmla="*/ 580991 w 12192000"/>
              <a:gd name="connsiteY55" fmla="*/ 389517 h 6858000"/>
              <a:gd name="connsiteX56" fmla="*/ 580991 w 12192000"/>
              <a:gd name="connsiteY56" fmla="*/ 312986 h 6858000"/>
              <a:gd name="connsiteX57" fmla="*/ 585229 w 12192000"/>
              <a:gd name="connsiteY57" fmla="*/ 311216 h 6858000"/>
              <a:gd name="connsiteX58" fmla="*/ 668189 w 12192000"/>
              <a:gd name="connsiteY58" fmla="*/ 394825 h 6858000"/>
              <a:gd name="connsiteX59" fmla="*/ 673455 w 12192000"/>
              <a:gd name="connsiteY59" fmla="*/ 397024 h 6858000"/>
              <a:gd name="connsiteX60" fmla="*/ 742371 w 12192000"/>
              <a:gd name="connsiteY60" fmla="*/ 397024 h 6858000"/>
              <a:gd name="connsiteX61" fmla="*/ 749819 w 12192000"/>
              <a:gd name="connsiteY61" fmla="*/ 389517 h 6858000"/>
              <a:gd name="connsiteX62" fmla="*/ 749819 w 12192000"/>
              <a:gd name="connsiteY62" fmla="*/ 324461 h 6858000"/>
              <a:gd name="connsiteX63" fmla="*/ 742371 w 12192000"/>
              <a:gd name="connsiteY63" fmla="*/ 316955 h 6858000"/>
              <a:gd name="connsiteX64" fmla="*/ 713180 w 12192000"/>
              <a:gd name="connsiteY64" fmla="*/ 316955 h 6858000"/>
              <a:gd name="connsiteX65" fmla="*/ 707913 w 12192000"/>
              <a:gd name="connsiteY65" fmla="*/ 314755 h 6858000"/>
              <a:gd name="connsiteX66" fmla="*/ 644815 w 12192000"/>
              <a:gd name="connsiteY66" fmla="*/ 251164 h 6858000"/>
              <a:gd name="connsiteX67" fmla="*/ 646571 w 12192000"/>
              <a:gd name="connsiteY67" fmla="*/ 246893 h 6858000"/>
              <a:gd name="connsiteX68" fmla="*/ 712577 w 12192000"/>
              <a:gd name="connsiteY68" fmla="*/ 246893 h 6858000"/>
              <a:gd name="connsiteX69" fmla="*/ 720026 w 12192000"/>
              <a:gd name="connsiteY69" fmla="*/ 239386 h 6858000"/>
              <a:gd name="connsiteX70" fmla="*/ 720026 w 12192000"/>
              <a:gd name="connsiteY70" fmla="*/ 204357 h 6858000"/>
              <a:gd name="connsiteX71" fmla="*/ 712577 w 12192000"/>
              <a:gd name="connsiteY71" fmla="*/ 196850 h 6858000"/>
              <a:gd name="connsiteX72" fmla="*/ 653593 w 12192000"/>
              <a:gd name="connsiteY72" fmla="*/ 196850 h 6858000"/>
              <a:gd name="connsiteX73" fmla="*/ 648327 w 12192000"/>
              <a:gd name="connsiteY73" fmla="*/ 199049 h 6858000"/>
              <a:gd name="connsiteX74" fmla="*/ 585229 w 12192000"/>
              <a:gd name="connsiteY74" fmla="*/ 262641 h 6858000"/>
              <a:gd name="connsiteX75" fmla="*/ 580991 w 12192000"/>
              <a:gd name="connsiteY75" fmla="*/ 260871 h 6858000"/>
              <a:gd name="connsiteX76" fmla="*/ 580991 w 12192000"/>
              <a:gd name="connsiteY76" fmla="*/ 204357 h 6858000"/>
              <a:gd name="connsiteX77" fmla="*/ 573542 w 12192000"/>
              <a:gd name="connsiteY77" fmla="*/ 196850 h 6858000"/>
              <a:gd name="connsiteX78" fmla="*/ 230918 w 12192000"/>
              <a:gd name="connsiteY78" fmla="*/ 196850 h 6858000"/>
              <a:gd name="connsiteX79" fmla="*/ 223469 w 12192000"/>
              <a:gd name="connsiteY79" fmla="*/ 204357 h 6858000"/>
              <a:gd name="connsiteX80" fmla="*/ 223469 w 12192000"/>
              <a:gd name="connsiteY80" fmla="*/ 289430 h 6858000"/>
              <a:gd name="connsiteX81" fmla="*/ 230918 w 12192000"/>
              <a:gd name="connsiteY81" fmla="*/ 296937 h 6858000"/>
              <a:gd name="connsiteX82" fmla="*/ 360022 w 12192000"/>
              <a:gd name="connsiteY82" fmla="*/ 296937 h 6858000"/>
              <a:gd name="connsiteX83" fmla="*/ 362506 w 12192000"/>
              <a:gd name="connsiteY83" fmla="*/ 299439 h 6858000"/>
              <a:gd name="connsiteX84" fmla="*/ 362506 w 12192000"/>
              <a:gd name="connsiteY84" fmla="*/ 364496 h 6858000"/>
              <a:gd name="connsiteX85" fmla="*/ 360022 w 12192000"/>
              <a:gd name="connsiteY85" fmla="*/ 366998 h 6858000"/>
              <a:gd name="connsiteX86" fmla="*/ 285539 w 12192000"/>
              <a:gd name="connsiteY86" fmla="*/ 366998 h 6858000"/>
              <a:gd name="connsiteX87" fmla="*/ 283056 w 12192000"/>
              <a:gd name="connsiteY87" fmla="*/ 364496 h 6858000"/>
              <a:gd name="connsiteX88" fmla="*/ 283056 w 12192000"/>
              <a:gd name="connsiteY88" fmla="*/ 324461 h 6858000"/>
              <a:gd name="connsiteX89" fmla="*/ 275608 w 12192000"/>
              <a:gd name="connsiteY89" fmla="*/ 316955 h 6858000"/>
              <a:gd name="connsiteX90" fmla="*/ 201124 w 12192000"/>
              <a:gd name="connsiteY90" fmla="*/ 316955 h 6858000"/>
              <a:gd name="connsiteX91" fmla="*/ 193676 w 12192000"/>
              <a:gd name="connsiteY91" fmla="*/ 324461 h 6858000"/>
              <a:gd name="connsiteX92" fmla="*/ 193676 w 12192000"/>
              <a:gd name="connsiteY92" fmla="*/ 389517 h 6858000"/>
              <a:gd name="connsiteX93" fmla="*/ 201124 w 12192000"/>
              <a:gd name="connsiteY93" fmla="*/ 397024 h 6858000"/>
              <a:gd name="connsiteX94" fmla="*/ 444437 w 12192000"/>
              <a:gd name="connsiteY94" fmla="*/ 397024 h 6858000"/>
              <a:gd name="connsiteX95" fmla="*/ 451885 w 12192000"/>
              <a:gd name="connsiteY95" fmla="*/ 389517 h 6858000"/>
              <a:gd name="connsiteX96" fmla="*/ 451885 w 12192000"/>
              <a:gd name="connsiteY96" fmla="*/ 274418 h 6858000"/>
              <a:gd name="connsiteX97" fmla="*/ 444437 w 12192000"/>
              <a:gd name="connsiteY97" fmla="*/ 266911 h 6858000"/>
              <a:gd name="connsiteX98" fmla="*/ 295470 w 12192000"/>
              <a:gd name="connsiteY98" fmla="*/ 266911 h 6858000"/>
              <a:gd name="connsiteX99" fmla="*/ 292988 w 12192000"/>
              <a:gd name="connsiteY99" fmla="*/ 264409 h 6858000"/>
              <a:gd name="connsiteX100" fmla="*/ 292988 w 12192000"/>
              <a:gd name="connsiteY100" fmla="*/ 229378 h 6858000"/>
              <a:gd name="connsiteX101" fmla="*/ 295470 w 12192000"/>
              <a:gd name="connsiteY101" fmla="*/ 226876 h 6858000"/>
              <a:gd name="connsiteX102" fmla="*/ 350091 w 12192000"/>
              <a:gd name="connsiteY102" fmla="*/ 226876 h 6858000"/>
              <a:gd name="connsiteX103" fmla="*/ 352574 w 12192000"/>
              <a:gd name="connsiteY103" fmla="*/ 229377 h 6858000"/>
              <a:gd name="connsiteX104" fmla="*/ 352574 w 12192000"/>
              <a:gd name="connsiteY104" fmla="*/ 239387 h 6858000"/>
              <a:gd name="connsiteX105" fmla="*/ 360022 w 12192000"/>
              <a:gd name="connsiteY105" fmla="*/ 246894 h 6858000"/>
              <a:gd name="connsiteX106" fmla="*/ 414643 w 12192000"/>
              <a:gd name="connsiteY106" fmla="*/ 246894 h 6858000"/>
              <a:gd name="connsiteX107" fmla="*/ 422092 w 12192000"/>
              <a:gd name="connsiteY107" fmla="*/ 239387 h 6858000"/>
              <a:gd name="connsiteX108" fmla="*/ 422092 w 12192000"/>
              <a:gd name="connsiteY108" fmla="*/ 204357 h 6858000"/>
              <a:gd name="connsiteX109" fmla="*/ 414643 w 12192000"/>
              <a:gd name="connsiteY109" fmla="*/ 196850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796991" y="196850"/>
                </a:moveTo>
                <a:cubicBezTo>
                  <a:pt x="792879" y="196850"/>
                  <a:pt x="789543" y="200211"/>
                  <a:pt x="789543" y="204357"/>
                </a:cubicBezTo>
                <a:lnTo>
                  <a:pt x="789543" y="239387"/>
                </a:lnTo>
                <a:cubicBezTo>
                  <a:pt x="789543" y="243533"/>
                  <a:pt x="792879" y="246894"/>
                  <a:pt x="796991" y="246894"/>
                </a:cubicBezTo>
                <a:lnTo>
                  <a:pt x="806922" y="246894"/>
                </a:lnTo>
                <a:cubicBezTo>
                  <a:pt x="808295" y="246894"/>
                  <a:pt x="809405" y="248014"/>
                  <a:pt x="809405" y="249395"/>
                </a:cubicBezTo>
                <a:lnTo>
                  <a:pt x="809405" y="314453"/>
                </a:lnTo>
                <a:cubicBezTo>
                  <a:pt x="809405" y="315834"/>
                  <a:pt x="808295" y="316955"/>
                  <a:pt x="806922" y="316955"/>
                </a:cubicBezTo>
                <a:lnTo>
                  <a:pt x="796991" y="316955"/>
                </a:lnTo>
                <a:cubicBezTo>
                  <a:pt x="792879" y="316955"/>
                  <a:pt x="789543" y="320316"/>
                  <a:pt x="789543" y="324461"/>
                </a:cubicBezTo>
                <a:lnTo>
                  <a:pt x="789543" y="389517"/>
                </a:lnTo>
                <a:cubicBezTo>
                  <a:pt x="789543" y="393664"/>
                  <a:pt x="792879" y="397024"/>
                  <a:pt x="796991" y="397024"/>
                </a:cubicBezTo>
                <a:lnTo>
                  <a:pt x="891337" y="397024"/>
                </a:lnTo>
                <a:cubicBezTo>
                  <a:pt x="895451" y="397024"/>
                  <a:pt x="898786" y="393664"/>
                  <a:pt x="898786" y="389517"/>
                </a:cubicBezTo>
                <a:lnTo>
                  <a:pt x="898786" y="324461"/>
                </a:lnTo>
                <a:cubicBezTo>
                  <a:pt x="898786" y="320316"/>
                  <a:pt x="895451" y="316955"/>
                  <a:pt x="891337" y="316955"/>
                </a:cubicBezTo>
                <a:lnTo>
                  <a:pt x="881406" y="316955"/>
                </a:lnTo>
                <a:cubicBezTo>
                  <a:pt x="880035" y="316955"/>
                  <a:pt x="878923" y="315834"/>
                  <a:pt x="878923" y="314453"/>
                </a:cubicBezTo>
                <a:lnTo>
                  <a:pt x="878923" y="299439"/>
                </a:lnTo>
                <a:cubicBezTo>
                  <a:pt x="878923" y="298057"/>
                  <a:pt x="880035" y="296937"/>
                  <a:pt x="881406" y="296937"/>
                </a:cubicBezTo>
                <a:lnTo>
                  <a:pt x="906234" y="296937"/>
                </a:lnTo>
                <a:cubicBezTo>
                  <a:pt x="907586" y="296937"/>
                  <a:pt x="908726" y="298019"/>
                  <a:pt x="908717" y="299382"/>
                </a:cubicBezTo>
                <a:cubicBezTo>
                  <a:pt x="908685" y="303553"/>
                  <a:pt x="912032" y="306946"/>
                  <a:pt x="916165" y="306946"/>
                </a:cubicBezTo>
                <a:lnTo>
                  <a:pt x="970787" y="306946"/>
                </a:lnTo>
                <a:cubicBezTo>
                  <a:pt x="974899" y="306946"/>
                  <a:pt x="978235" y="303585"/>
                  <a:pt x="978235" y="299439"/>
                </a:cubicBezTo>
                <a:lnTo>
                  <a:pt x="978235" y="264409"/>
                </a:lnTo>
                <a:cubicBezTo>
                  <a:pt x="978235" y="260263"/>
                  <a:pt x="974899" y="256902"/>
                  <a:pt x="970787" y="256902"/>
                </a:cubicBezTo>
                <a:lnTo>
                  <a:pt x="916165" y="256902"/>
                </a:lnTo>
                <a:cubicBezTo>
                  <a:pt x="912032" y="256902"/>
                  <a:pt x="908685" y="260294"/>
                  <a:pt x="908717" y="264466"/>
                </a:cubicBezTo>
                <a:cubicBezTo>
                  <a:pt x="908726" y="265829"/>
                  <a:pt x="907586" y="266911"/>
                  <a:pt x="906234" y="266911"/>
                </a:cubicBezTo>
                <a:lnTo>
                  <a:pt x="881406" y="266911"/>
                </a:lnTo>
                <a:cubicBezTo>
                  <a:pt x="880035" y="266911"/>
                  <a:pt x="878923" y="265791"/>
                  <a:pt x="878923" y="264409"/>
                </a:cubicBezTo>
                <a:lnTo>
                  <a:pt x="878923" y="229378"/>
                </a:lnTo>
                <a:cubicBezTo>
                  <a:pt x="878923" y="227996"/>
                  <a:pt x="880035" y="226876"/>
                  <a:pt x="881406" y="226876"/>
                </a:cubicBezTo>
                <a:lnTo>
                  <a:pt x="955890" y="226876"/>
                </a:lnTo>
                <a:cubicBezTo>
                  <a:pt x="957261" y="226876"/>
                  <a:pt x="958373" y="227996"/>
                  <a:pt x="958373" y="229378"/>
                </a:cubicBezTo>
                <a:lnTo>
                  <a:pt x="958373" y="239387"/>
                </a:lnTo>
                <a:cubicBezTo>
                  <a:pt x="958373" y="243533"/>
                  <a:pt x="961707" y="246894"/>
                  <a:pt x="965821" y="246894"/>
                </a:cubicBezTo>
                <a:lnTo>
                  <a:pt x="1040304" y="246894"/>
                </a:lnTo>
                <a:cubicBezTo>
                  <a:pt x="1044417" y="246894"/>
                  <a:pt x="1047752" y="243533"/>
                  <a:pt x="1047752" y="239387"/>
                </a:cubicBezTo>
                <a:lnTo>
                  <a:pt x="1047752" y="204357"/>
                </a:lnTo>
                <a:cubicBezTo>
                  <a:pt x="1047752" y="200211"/>
                  <a:pt x="1044417" y="196850"/>
                  <a:pt x="1040304" y="196850"/>
                </a:cubicBezTo>
                <a:close/>
                <a:moveTo>
                  <a:pt x="499059" y="196850"/>
                </a:moveTo>
                <a:cubicBezTo>
                  <a:pt x="494946" y="196850"/>
                  <a:pt x="491611" y="200211"/>
                  <a:pt x="491611" y="204357"/>
                </a:cubicBezTo>
                <a:lnTo>
                  <a:pt x="491611" y="239387"/>
                </a:lnTo>
                <a:cubicBezTo>
                  <a:pt x="491611" y="243533"/>
                  <a:pt x="494946" y="246894"/>
                  <a:pt x="499059" y="246894"/>
                </a:cubicBezTo>
                <a:lnTo>
                  <a:pt x="508990" y="246894"/>
                </a:lnTo>
                <a:cubicBezTo>
                  <a:pt x="510362" y="246894"/>
                  <a:pt x="511473" y="248014"/>
                  <a:pt x="511473" y="249395"/>
                </a:cubicBezTo>
                <a:lnTo>
                  <a:pt x="511473" y="314453"/>
                </a:lnTo>
                <a:cubicBezTo>
                  <a:pt x="511473" y="315834"/>
                  <a:pt x="510362" y="316955"/>
                  <a:pt x="508990" y="316955"/>
                </a:cubicBezTo>
                <a:lnTo>
                  <a:pt x="499059" y="316955"/>
                </a:lnTo>
                <a:cubicBezTo>
                  <a:pt x="494946" y="316955"/>
                  <a:pt x="491611" y="320316"/>
                  <a:pt x="491611" y="324461"/>
                </a:cubicBezTo>
                <a:lnTo>
                  <a:pt x="491611" y="389517"/>
                </a:lnTo>
                <a:cubicBezTo>
                  <a:pt x="491611" y="393664"/>
                  <a:pt x="494946" y="397023"/>
                  <a:pt x="499059" y="397024"/>
                </a:cubicBezTo>
                <a:lnTo>
                  <a:pt x="573542" y="397024"/>
                </a:lnTo>
                <a:cubicBezTo>
                  <a:pt x="577656" y="397024"/>
                  <a:pt x="580991" y="393664"/>
                  <a:pt x="580991" y="389517"/>
                </a:cubicBezTo>
                <a:lnTo>
                  <a:pt x="580991" y="312986"/>
                </a:lnTo>
                <a:cubicBezTo>
                  <a:pt x="580991" y="310757"/>
                  <a:pt x="583666" y="309640"/>
                  <a:pt x="585229" y="311216"/>
                </a:cubicBezTo>
                <a:lnTo>
                  <a:pt x="668189" y="394825"/>
                </a:lnTo>
                <a:cubicBezTo>
                  <a:pt x="669585" y="396233"/>
                  <a:pt x="671480" y="397024"/>
                  <a:pt x="673455" y="397024"/>
                </a:cubicBezTo>
                <a:lnTo>
                  <a:pt x="742371" y="397024"/>
                </a:lnTo>
                <a:cubicBezTo>
                  <a:pt x="746484" y="397024"/>
                  <a:pt x="749819" y="393664"/>
                  <a:pt x="749819" y="389517"/>
                </a:cubicBezTo>
                <a:lnTo>
                  <a:pt x="749819" y="324461"/>
                </a:lnTo>
                <a:cubicBezTo>
                  <a:pt x="749819" y="320316"/>
                  <a:pt x="746484" y="316955"/>
                  <a:pt x="742371" y="316955"/>
                </a:cubicBezTo>
                <a:lnTo>
                  <a:pt x="713180" y="316955"/>
                </a:lnTo>
                <a:cubicBezTo>
                  <a:pt x="711204" y="316955"/>
                  <a:pt x="709310" y="316164"/>
                  <a:pt x="707913" y="314755"/>
                </a:cubicBezTo>
                <a:lnTo>
                  <a:pt x="644815" y="251164"/>
                </a:lnTo>
                <a:cubicBezTo>
                  <a:pt x="643251" y="249588"/>
                  <a:pt x="644358" y="246893"/>
                  <a:pt x="646571" y="246893"/>
                </a:cubicBezTo>
                <a:lnTo>
                  <a:pt x="712577" y="246893"/>
                </a:lnTo>
                <a:cubicBezTo>
                  <a:pt x="716691" y="246893"/>
                  <a:pt x="720026" y="243532"/>
                  <a:pt x="720026" y="239386"/>
                </a:cubicBezTo>
                <a:lnTo>
                  <a:pt x="720026" y="204357"/>
                </a:lnTo>
                <a:cubicBezTo>
                  <a:pt x="720026" y="200211"/>
                  <a:pt x="716691" y="196850"/>
                  <a:pt x="712577" y="196850"/>
                </a:cubicBezTo>
                <a:lnTo>
                  <a:pt x="653593" y="196850"/>
                </a:lnTo>
                <a:cubicBezTo>
                  <a:pt x="651618" y="196850"/>
                  <a:pt x="649723" y="197640"/>
                  <a:pt x="648327" y="199049"/>
                </a:cubicBezTo>
                <a:lnTo>
                  <a:pt x="585229" y="262641"/>
                </a:lnTo>
                <a:cubicBezTo>
                  <a:pt x="583666" y="264217"/>
                  <a:pt x="580991" y="263101"/>
                  <a:pt x="580991" y="260871"/>
                </a:cubicBezTo>
                <a:lnTo>
                  <a:pt x="580991" y="204357"/>
                </a:lnTo>
                <a:cubicBezTo>
                  <a:pt x="580991" y="200211"/>
                  <a:pt x="577656" y="196850"/>
                  <a:pt x="573542" y="196850"/>
                </a:cubicBezTo>
                <a:close/>
                <a:moveTo>
                  <a:pt x="230918" y="196850"/>
                </a:moveTo>
                <a:cubicBezTo>
                  <a:pt x="226804" y="196850"/>
                  <a:pt x="223469" y="200211"/>
                  <a:pt x="223469" y="204357"/>
                </a:cubicBezTo>
                <a:lnTo>
                  <a:pt x="223469" y="289430"/>
                </a:lnTo>
                <a:cubicBezTo>
                  <a:pt x="223469" y="293577"/>
                  <a:pt x="226804" y="296937"/>
                  <a:pt x="230918" y="296937"/>
                </a:cubicBezTo>
                <a:lnTo>
                  <a:pt x="360022" y="296937"/>
                </a:lnTo>
                <a:cubicBezTo>
                  <a:pt x="361394" y="296937"/>
                  <a:pt x="362506" y="298057"/>
                  <a:pt x="362506" y="299439"/>
                </a:cubicBezTo>
                <a:lnTo>
                  <a:pt x="362506" y="364496"/>
                </a:lnTo>
                <a:cubicBezTo>
                  <a:pt x="362506" y="365878"/>
                  <a:pt x="361394" y="366998"/>
                  <a:pt x="360022" y="366998"/>
                </a:cubicBezTo>
                <a:lnTo>
                  <a:pt x="285539" y="366998"/>
                </a:lnTo>
                <a:cubicBezTo>
                  <a:pt x="284167" y="366998"/>
                  <a:pt x="283056" y="365878"/>
                  <a:pt x="283056" y="364496"/>
                </a:cubicBezTo>
                <a:lnTo>
                  <a:pt x="283056" y="324461"/>
                </a:lnTo>
                <a:cubicBezTo>
                  <a:pt x="283056" y="320316"/>
                  <a:pt x="279722" y="316955"/>
                  <a:pt x="275608" y="316955"/>
                </a:cubicBezTo>
                <a:lnTo>
                  <a:pt x="201124" y="316955"/>
                </a:lnTo>
                <a:cubicBezTo>
                  <a:pt x="197011" y="316955"/>
                  <a:pt x="193676" y="320316"/>
                  <a:pt x="193676" y="324461"/>
                </a:cubicBezTo>
                <a:lnTo>
                  <a:pt x="193676" y="389517"/>
                </a:lnTo>
                <a:cubicBezTo>
                  <a:pt x="193676" y="393664"/>
                  <a:pt x="197011" y="397024"/>
                  <a:pt x="201124" y="397024"/>
                </a:cubicBezTo>
                <a:lnTo>
                  <a:pt x="444437" y="397024"/>
                </a:lnTo>
                <a:cubicBezTo>
                  <a:pt x="448551" y="397024"/>
                  <a:pt x="451885" y="393664"/>
                  <a:pt x="451885" y="389517"/>
                </a:cubicBezTo>
                <a:lnTo>
                  <a:pt x="451885" y="274418"/>
                </a:lnTo>
                <a:cubicBezTo>
                  <a:pt x="451885" y="270272"/>
                  <a:pt x="448551" y="266911"/>
                  <a:pt x="444437" y="266911"/>
                </a:cubicBezTo>
                <a:lnTo>
                  <a:pt x="295470" y="266911"/>
                </a:lnTo>
                <a:cubicBezTo>
                  <a:pt x="294099" y="266911"/>
                  <a:pt x="292988" y="265791"/>
                  <a:pt x="292988" y="264409"/>
                </a:cubicBezTo>
                <a:lnTo>
                  <a:pt x="292988" y="229378"/>
                </a:lnTo>
                <a:cubicBezTo>
                  <a:pt x="292988" y="227996"/>
                  <a:pt x="294099" y="226876"/>
                  <a:pt x="295470" y="226876"/>
                </a:cubicBezTo>
                <a:lnTo>
                  <a:pt x="350091" y="226876"/>
                </a:lnTo>
                <a:cubicBezTo>
                  <a:pt x="351463" y="226875"/>
                  <a:pt x="352574" y="227995"/>
                  <a:pt x="352574" y="229377"/>
                </a:cubicBezTo>
                <a:lnTo>
                  <a:pt x="352574" y="239387"/>
                </a:lnTo>
                <a:cubicBezTo>
                  <a:pt x="352574" y="243533"/>
                  <a:pt x="355909" y="246894"/>
                  <a:pt x="360022" y="246894"/>
                </a:cubicBezTo>
                <a:lnTo>
                  <a:pt x="414643" y="246894"/>
                </a:lnTo>
                <a:cubicBezTo>
                  <a:pt x="418757" y="246894"/>
                  <a:pt x="422092" y="243533"/>
                  <a:pt x="422092" y="239387"/>
                </a:cubicBezTo>
                <a:lnTo>
                  <a:pt x="422092" y="204357"/>
                </a:lnTo>
                <a:cubicBezTo>
                  <a:pt x="422092" y="200211"/>
                  <a:pt x="418757" y="196850"/>
                  <a:pt x="414643" y="1968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2929F8-B9EB-0474-1562-E834B374A067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3675" y="1152525"/>
            <a:ext cx="5830887" cy="2062800"/>
          </a:xfrm>
        </p:spPr>
        <p:txBody>
          <a:bodyPr anchor="b">
            <a:noAutofit/>
          </a:bodyPr>
          <a:lstStyle>
            <a:lvl1pPr algn="l">
              <a:defRPr sz="4800" spc="-7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A66286-29C4-D74C-6A1A-1E46E86C328B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3676" y="3509963"/>
            <a:ext cx="4835524" cy="2049462"/>
          </a:xfrm>
        </p:spPr>
        <p:txBody>
          <a:bodyPr/>
          <a:lstStyle>
            <a:lvl1pPr marL="0" indent="0" algn="l">
              <a:lnSpc>
                <a:spcPct val="105000"/>
              </a:lnSpc>
              <a:spcBef>
                <a:spcPts val="0"/>
              </a:spcBef>
              <a:buNone/>
              <a:defRPr sz="16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CFE7-D391-398C-1C33-953CBB8A179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891CF-20B6-0EB1-1074-AB87235D15B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812492-44A1-BE39-BFCD-FA4FA99EBFA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24936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E2A74-0DCE-698A-5CFD-2095E22262F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5830888" cy="4406900"/>
          </a:xfrm>
          <a:noFill/>
        </p:spPr>
        <p:txBody>
          <a:bodyPr/>
          <a:lstStyle>
            <a:lvl1pPr>
              <a:defRPr spc="-50" baseline="0"/>
            </a:lvl1pPr>
          </a:lstStyle>
          <a:p>
            <a:r>
              <a:rPr lang="en-GB"/>
              <a:t>“Quote”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11B9AB-9661-525A-B670-E832A8553AD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08D976-FEA8-7712-75F2-4C5AD50C4A5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166764-6485-C03F-3AF9-98D3281E992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9F8EA27-F110-F3BB-B243-CEF296FE0856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193676" y="5703888"/>
            <a:ext cx="5830887" cy="457200"/>
          </a:xfrm>
        </p:spPr>
        <p:txBody>
          <a:bodyPr/>
          <a:lstStyle>
            <a:lvl1pPr marL="0" indent="0" algn="l">
              <a:buFontTx/>
              <a:buNone/>
              <a:defRPr sz="16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</a:t>
            </a:r>
            <a:endParaRPr lang="en-GB" dirty="0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85BC2F04-369F-C19F-EF9F-5E6D5561BC71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6"/>
            </p:custDataLst>
          </p:nvPr>
        </p:nvSpPr>
        <p:spPr>
          <a:xfrm>
            <a:off x="7161213" y="1296988"/>
            <a:ext cx="4835526" cy="5364162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8569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5A385-C337-B193-B23C-6C4B9791F005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1"/>
            </p:custDataLst>
          </p:nvPr>
        </p:nvSpPr>
        <p:spPr>
          <a:xfrm>
            <a:off x="194400" y="3499200"/>
            <a:ext cx="3837600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5830887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A01076A-2291-052C-DF5E-2FC0996834A7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7465622" y="372623"/>
            <a:ext cx="3239143" cy="6185767"/>
            <a:chOff x="7465622" y="372623"/>
            <a:chExt cx="3239143" cy="618576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179980C-D4D0-EE29-70B1-A2DD07D9E806}"/>
                </a:ext>
              </a:extLst>
            </p:cNvPr>
            <p:cNvSpPr/>
            <p:nvPr userDrawn="1"/>
          </p:nvSpPr>
          <p:spPr>
            <a:xfrm>
              <a:off x="7993519" y="532959"/>
              <a:ext cx="2183769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7000"/>
                </a:lnSpc>
                <a:spcBef>
                  <a:spcPts val="1200"/>
                </a:spcBef>
              </a:pPr>
              <a:endParaRPr lang="en-GB" sz="1600" spc="-20" dirty="0" err="1"/>
            </a:p>
          </p:txBody>
        </p:sp>
        <p:pic>
          <p:nvPicPr>
            <p:cNvPr id="6" name="Picture 5" descr="A black screen with a black background&#10;&#10;Description automatically generated">
              <a:extLst>
                <a:ext uri="{FF2B5EF4-FFF2-40B4-BE49-F238E27FC236}">
                  <a16:creationId xmlns:a16="http://schemas.microsoft.com/office/drawing/2014/main" id="{9EE5644C-5106-C952-ADA7-AB4402CABC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65622" y="372623"/>
              <a:ext cx="3239143" cy="6185767"/>
            </a:xfrm>
            <a:prstGeom prst="rect">
              <a:avLst/>
            </a:prstGeom>
          </p:spPr>
        </p:pic>
      </p:grp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E30962C-4936-B9A5-26E4-DF724E9C4C79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7763565" y="578678"/>
            <a:ext cx="2659270" cy="5740400"/>
          </a:xfrm>
          <a:custGeom>
            <a:avLst/>
            <a:gdLst>
              <a:gd name="connsiteX0" fmla="*/ 1031160 w 2659270"/>
              <a:gd name="connsiteY0" fmla="*/ 88949 h 5740400"/>
              <a:gd name="connsiteX1" fmla="*/ 912191 w 2659270"/>
              <a:gd name="connsiteY1" fmla="*/ 207918 h 5740400"/>
              <a:gd name="connsiteX2" fmla="*/ 1031160 w 2659270"/>
              <a:gd name="connsiteY2" fmla="*/ 326887 h 5740400"/>
              <a:gd name="connsiteX3" fmla="*/ 1626843 w 2659270"/>
              <a:gd name="connsiteY3" fmla="*/ 326887 h 5740400"/>
              <a:gd name="connsiteX4" fmla="*/ 1745812 w 2659270"/>
              <a:gd name="connsiteY4" fmla="*/ 207918 h 5740400"/>
              <a:gd name="connsiteX5" fmla="*/ 1626843 w 2659270"/>
              <a:gd name="connsiteY5" fmla="*/ 88949 h 5740400"/>
              <a:gd name="connsiteX6" fmla="*/ 369665 w 2659270"/>
              <a:gd name="connsiteY6" fmla="*/ 0 h 5740400"/>
              <a:gd name="connsiteX7" fmla="*/ 2289605 w 2659270"/>
              <a:gd name="connsiteY7" fmla="*/ 0 h 5740400"/>
              <a:gd name="connsiteX8" fmla="*/ 2659270 w 2659270"/>
              <a:gd name="connsiteY8" fmla="*/ 369665 h 5740400"/>
              <a:gd name="connsiteX9" fmla="*/ 2659270 w 2659270"/>
              <a:gd name="connsiteY9" fmla="*/ 5370735 h 5740400"/>
              <a:gd name="connsiteX10" fmla="*/ 2289605 w 2659270"/>
              <a:gd name="connsiteY10" fmla="*/ 5740400 h 5740400"/>
              <a:gd name="connsiteX11" fmla="*/ 369665 w 2659270"/>
              <a:gd name="connsiteY11" fmla="*/ 5740400 h 5740400"/>
              <a:gd name="connsiteX12" fmla="*/ 0 w 2659270"/>
              <a:gd name="connsiteY12" fmla="*/ 5370735 h 5740400"/>
              <a:gd name="connsiteX13" fmla="*/ 0 w 2659270"/>
              <a:gd name="connsiteY13" fmla="*/ 369665 h 5740400"/>
              <a:gd name="connsiteX14" fmla="*/ 369665 w 2659270"/>
              <a:gd name="connsiteY14" fmla="*/ 0 h 574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659270" h="5740400">
                <a:moveTo>
                  <a:pt x="1031160" y="88949"/>
                </a:moveTo>
                <a:cubicBezTo>
                  <a:pt x="965455" y="88949"/>
                  <a:pt x="912191" y="142213"/>
                  <a:pt x="912191" y="207918"/>
                </a:cubicBezTo>
                <a:cubicBezTo>
                  <a:pt x="912191" y="273623"/>
                  <a:pt x="965455" y="326887"/>
                  <a:pt x="1031160" y="326887"/>
                </a:cubicBezTo>
                <a:lnTo>
                  <a:pt x="1626843" y="326887"/>
                </a:lnTo>
                <a:cubicBezTo>
                  <a:pt x="1692548" y="326887"/>
                  <a:pt x="1745812" y="273623"/>
                  <a:pt x="1745812" y="207918"/>
                </a:cubicBezTo>
                <a:cubicBezTo>
                  <a:pt x="1745812" y="142213"/>
                  <a:pt x="1692548" y="88949"/>
                  <a:pt x="1626843" y="88949"/>
                </a:cubicBezTo>
                <a:close/>
                <a:moveTo>
                  <a:pt x="369665" y="0"/>
                </a:moveTo>
                <a:lnTo>
                  <a:pt x="2289605" y="0"/>
                </a:lnTo>
                <a:cubicBezTo>
                  <a:pt x="2493765" y="0"/>
                  <a:pt x="2659270" y="165505"/>
                  <a:pt x="2659270" y="369665"/>
                </a:cubicBezTo>
                <a:lnTo>
                  <a:pt x="2659270" y="5370735"/>
                </a:lnTo>
                <a:cubicBezTo>
                  <a:pt x="2659270" y="5574895"/>
                  <a:pt x="2493765" y="5740400"/>
                  <a:pt x="2289605" y="5740400"/>
                </a:cubicBezTo>
                <a:lnTo>
                  <a:pt x="369665" y="5740400"/>
                </a:lnTo>
                <a:cubicBezTo>
                  <a:pt x="165505" y="5740400"/>
                  <a:pt x="0" y="5574895"/>
                  <a:pt x="0" y="5370735"/>
                </a:cubicBezTo>
                <a:lnTo>
                  <a:pt x="0" y="369665"/>
                </a:lnTo>
                <a:cubicBezTo>
                  <a:pt x="0" y="165505"/>
                  <a:pt x="165505" y="0"/>
                  <a:pt x="369665" y="0"/>
                </a:cubicBez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6785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56DEB2-17E4-7185-452C-9B65BF5945DD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1"/>
            </p:custDataLst>
          </p:nvPr>
        </p:nvSpPr>
        <p:spPr>
          <a:xfrm>
            <a:off x="194400" y="3499200"/>
            <a:ext cx="3837600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9" name="Picture 8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F3CAFD5D-B6B1-3247-8530-610980AF14E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10"/>
          <a:srcRect l="987" r="987"/>
          <a:stretch/>
        </p:blipFill>
        <p:spPr>
          <a:xfrm>
            <a:off x="6711348" y="312740"/>
            <a:ext cx="4748398" cy="62085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93676" y="1152525"/>
            <a:ext cx="5830887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7669F77-E9EA-64F9-DB61-4AAB4642C4F7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6955367" y="603249"/>
            <a:ext cx="4264370" cy="5632723"/>
          </a:xfrm>
          <a:prstGeom prst="roundRect">
            <a:avLst>
              <a:gd name="adj" fmla="val 904"/>
            </a:avLst>
          </a:pr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5064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27C8901-36D9-8C9C-E7A8-773EDEF096D9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1"/>
            </p:custDataLst>
          </p:nvPr>
        </p:nvSpPr>
        <p:spPr>
          <a:xfrm>
            <a:off x="194400" y="3499200"/>
            <a:ext cx="3837600" cy="267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2" name="Picture 11" descr="A computer with a black screen&#10;&#10;Description automatically generated">
            <a:extLst>
              <a:ext uri="{FF2B5EF4-FFF2-40B4-BE49-F238E27FC236}">
                <a16:creationId xmlns:a16="http://schemas.microsoft.com/office/drawing/2014/main" id="{19535C81-9723-C17A-FD17-FCC56C94801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0"/>
          <a:srcRect/>
          <a:stretch>
            <a:fillRect/>
          </a:stretch>
        </p:blipFill>
        <p:spPr>
          <a:xfrm>
            <a:off x="3441104" y="695944"/>
            <a:ext cx="9939185" cy="5852954"/>
          </a:xfrm>
          <a:custGeom>
            <a:avLst/>
            <a:gdLst>
              <a:gd name="connsiteX0" fmla="*/ 0 w 9939185"/>
              <a:gd name="connsiteY0" fmla="*/ 0 h 5852954"/>
              <a:gd name="connsiteX1" fmla="*/ 9939185 w 9939185"/>
              <a:gd name="connsiteY1" fmla="*/ 0 h 5852954"/>
              <a:gd name="connsiteX2" fmla="*/ 9939185 w 9939185"/>
              <a:gd name="connsiteY2" fmla="*/ 3164856 h 5852954"/>
              <a:gd name="connsiteX3" fmla="*/ 8750896 w 9939185"/>
              <a:gd name="connsiteY3" fmla="*/ 3164856 h 5852954"/>
              <a:gd name="connsiteX4" fmla="*/ 8750896 w 9939185"/>
              <a:gd name="connsiteY4" fmla="*/ 5852954 h 5852954"/>
              <a:gd name="connsiteX5" fmla="*/ 0 w 9939185"/>
              <a:gd name="connsiteY5" fmla="*/ 5852954 h 5852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39185" h="5852954">
                <a:moveTo>
                  <a:pt x="0" y="0"/>
                </a:moveTo>
                <a:lnTo>
                  <a:pt x="9939185" y="0"/>
                </a:lnTo>
                <a:lnTo>
                  <a:pt x="9939185" y="3164856"/>
                </a:lnTo>
                <a:lnTo>
                  <a:pt x="8750896" y="3164856"/>
                </a:lnTo>
                <a:lnTo>
                  <a:pt x="8750896" y="5852954"/>
                </a:lnTo>
                <a:lnTo>
                  <a:pt x="0" y="5852954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93677" y="1152525"/>
            <a:ext cx="3838574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7669F77-E9EA-64F9-DB61-4AAB4642C4F7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8"/>
            </p:custDataLst>
          </p:nvPr>
        </p:nvSpPr>
        <p:spPr>
          <a:xfrm>
            <a:off x="4973750" y="979266"/>
            <a:ext cx="6884156" cy="4312536"/>
          </a:xfrm>
          <a:prstGeom prst="roundRect">
            <a:avLst>
              <a:gd name="adj" fmla="val 165"/>
            </a:avLst>
          </a:pr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7813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3179233" y="195263"/>
            <a:ext cx="2844800" cy="316071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5"/>
            </p:custDataLst>
          </p:nvPr>
        </p:nvSpPr>
        <p:spPr>
          <a:xfrm>
            <a:off x="194400" y="3500439"/>
            <a:ext cx="2844800" cy="3160712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6"/>
            </p:custDataLst>
          </p:nvPr>
        </p:nvSpPr>
        <p:spPr>
          <a:xfrm>
            <a:off x="6166379" y="3500439"/>
            <a:ext cx="2844800" cy="3160711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59683E-71F7-7EFC-C2CB-BAB4E78B904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193675" y="1296988"/>
            <a:ext cx="2843211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D18AAB-5EDD-CC8D-430E-2D26F593788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>
          <a:xfrm>
            <a:off x="3180821" y="4602163"/>
            <a:ext cx="2843211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80BE25F-6F2A-0947-864B-69F23572C60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9"/>
            </p:custDataLst>
          </p:nvPr>
        </p:nvSpPr>
        <p:spPr>
          <a:xfrm>
            <a:off x="6167967" y="1296988"/>
            <a:ext cx="2843211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EF0EFFB-C079-DBCC-39B4-F21BB6D8DDAE}"/>
              </a:ext>
            </a:extLst>
          </p:cNvPr>
          <p:cNvSpPr>
            <a:spLocks noGrp="1"/>
          </p:cNvSpPr>
          <p:nvPr>
            <p:ph type="pic" sz="quarter" idx="23"/>
            <p:custDataLst>
              <p:tags r:id="rId10"/>
            </p:custDataLst>
          </p:nvPr>
        </p:nvSpPr>
        <p:spPr>
          <a:xfrm>
            <a:off x="9153525" y="195263"/>
            <a:ext cx="2844800" cy="316071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6C167B8-68D8-7512-2689-42E1B65673F5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11"/>
            </p:custDataLst>
          </p:nvPr>
        </p:nvSpPr>
        <p:spPr>
          <a:xfrm>
            <a:off x="9155112" y="4602163"/>
            <a:ext cx="2843211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33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Si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2184400" y="195263"/>
            <a:ext cx="1849438" cy="316071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95E453A-D6A2-EFDE-350B-2F7D020701B2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5"/>
            </p:custDataLst>
          </p:nvPr>
        </p:nvSpPr>
        <p:spPr>
          <a:xfrm>
            <a:off x="194400" y="3500439"/>
            <a:ext cx="1849438" cy="3160712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A1F0E6B-6AA2-AC03-1042-663624175093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6"/>
            </p:custDataLst>
          </p:nvPr>
        </p:nvSpPr>
        <p:spPr>
          <a:xfrm>
            <a:off x="4175125" y="3500439"/>
            <a:ext cx="1849438" cy="3160711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59683E-71F7-7EFC-C2CB-BAB4E78B904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193675" y="1296988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AD18AAB-5EDD-CC8D-430E-2D26F5937885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8"/>
            </p:custDataLst>
          </p:nvPr>
        </p:nvSpPr>
        <p:spPr>
          <a:xfrm>
            <a:off x="2185988" y="4602163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80BE25F-6F2A-0947-864B-69F23572C60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9"/>
            </p:custDataLst>
          </p:nvPr>
        </p:nvSpPr>
        <p:spPr>
          <a:xfrm>
            <a:off x="4176713" y="1296988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EF0EFFB-C079-DBCC-39B4-F21BB6D8DDAE}"/>
              </a:ext>
            </a:extLst>
          </p:cNvPr>
          <p:cNvSpPr>
            <a:spLocks noGrp="1"/>
          </p:cNvSpPr>
          <p:nvPr>
            <p:ph type="pic" sz="quarter" idx="23"/>
            <p:custDataLst>
              <p:tags r:id="rId10"/>
            </p:custDataLst>
          </p:nvPr>
        </p:nvSpPr>
        <p:spPr>
          <a:xfrm>
            <a:off x="6165850" y="195263"/>
            <a:ext cx="1849438" cy="316071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6C167B8-68D8-7512-2689-42E1B65673F5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11"/>
            </p:custDataLst>
          </p:nvPr>
        </p:nvSpPr>
        <p:spPr>
          <a:xfrm>
            <a:off x="6167437" y="4602163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DF7735C3-56B8-0BAE-5C06-89305AC1980B}"/>
              </a:ext>
            </a:extLst>
          </p:cNvPr>
          <p:cNvSpPr>
            <a:spLocks noGrp="1"/>
          </p:cNvSpPr>
          <p:nvPr>
            <p:ph type="pic" sz="quarter" idx="26"/>
            <p:custDataLst>
              <p:tags r:id="rId12"/>
            </p:custDataLst>
          </p:nvPr>
        </p:nvSpPr>
        <p:spPr>
          <a:xfrm>
            <a:off x="8158163" y="3500439"/>
            <a:ext cx="1849438" cy="3160711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8E86131-32FF-54AF-5649-82F622DB6FD4}"/>
              </a:ext>
            </a:extLst>
          </p:cNvPr>
          <p:cNvSpPr>
            <a:spLocks noGrp="1"/>
          </p:cNvSpPr>
          <p:nvPr>
            <p:ph type="body" sz="quarter" idx="27"/>
            <p:custDataLst>
              <p:tags r:id="rId13"/>
            </p:custDataLst>
          </p:nvPr>
        </p:nvSpPr>
        <p:spPr>
          <a:xfrm>
            <a:off x="8159751" y="1296988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A8200B67-3F29-D1C6-F912-A08ECAC6F35A}"/>
              </a:ext>
            </a:extLst>
          </p:cNvPr>
          <p:cNvSpPr>
            <a:spLocks noGrp="1"/>
          </p:cNvSpPr>
          <p:nvPr>
            <p:ph type="pic" sz="quarter" idx="28"/>
            <p:custDataLst>
              <p:tags r:id="rId14"/>
            </p:custDataLst>
          </p:nvPr>
        </p:nvSpPr>
        <p:spPr>
          <a:xfrm>
            <a:off x="10146742" y="195263"/>
            <a:ext cx="1849438" cy="316071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C165205-9DBA-3822-3695-D4EF38287016}"/>
              </a:ext>
            </a:extLst>
          </p:cNvPr>
          <p:cNvSpPr>
            <a:spLocks noGrp="1"/>
          </p:cNvSpPr>
          <p:nvPr>
            <p:ph type="body" sz="quarter" idx="29"/>
            <p:custDataLst>
              <p:tags r:id="rId15"/>
            </p:custDataLst>
          </p:nvPr>
        </p:nvSpPr>
        <p:spPr>
          <a:xfrm>
            <a:off x="10148329" y="4602163"/>
            <a:ext cx="1848405" cy="2058987"/>
          </a:xfrm>
        </p:spPr>
        <p:txBody>
          <a:bodyPr anchor="b" anchorCtr="0"/>
          <a:lstStyle>
            <a:lvl1pPr marL="0" indent="0">
              <a:buFontTx/>
              <a:buNone/>
              <a:defRPr sz="1400"/>
            </a:lvl1pPr>
            <a:lvl2pPr marL="180000" indent="0">
              <a:buFontTx/>
              <a:buNone/>
              <a:defRPr sz="1200"/>
            </a:lvl2pPr>
            <a:lvl3pPr marL="356400" indent="0">
              <a:buFontTx/>
              <a:buNone/>
              <a:defRPr sz="1200"/>
            </a:lvl3pPr>
            <a:lvl4pPr marL="356400" indent="0">
              <a:buFontTx/>
              <a:buNone/>
              <a:defRPr sz="1200"/>
            </a:lvl4pPr>
            <a:lvl5pPr marL="3564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6753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hank you!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2398712"/>
            <a:ext cx="3838574" cy="2058987"/>
          </a:xfrm>
        </p:spPr>
        <p:txBody>
          <a:bodyPr lIns="32400" tIns="0" bIns="36000"/>
          <a:lstStyle>
            <a:lvl1pPr marL="0" indent="0">
              <a:lnSpc>
                <a:spcPct val="107000"/>
              </a:lnSpc>
              <a:buNone/>
              <a:defRPr sz="160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Title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619919" y="5054400"/>
            <a:ext cx="4409281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.namesson@skf.com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19919" y="5527800"/>
            <a:ext cx="4407457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+46 70 XXX XX XX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8"/>
            </p:custDataLst>
          </p:nvPr>
        </p:nvSpPr>
        <p:spPr>
          <a:xfrm>
            <a:off x="619919" y="6001200"/>
            <a:ext cx="4406815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-namess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B6F61F-13FC-E5FD-8F74-1319EE8E8FF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9"/>
            </p:custDataLst>
          </p:nvPr>
        </p:nvSpPr>
        <p:spPr bwMode="invGray">
          <a:xfrm>
            <a:off x="213297" y="5028177"/>
            <a:ext cx="266400" cy="266400"/>
          </a:xfr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4A370C4-1191-2B2D-7A0B-EF946B4F56E7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0"/>
            </p:custDataLst>
          </p:nvPr>
        </p:nvSpPr>
        <p:spPr bwMode="invGray">
          <a:xfrm>
            <a:off x="213297" y="5973949"/>
            <a:ext cx="266400" cy="266400"/>
          </a:xfr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4738593-0764-06D6-12E7-186224732924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1"/>
            </p:custDataLst>
          </p:nvPr>
        </p:nvSpPr>
        <p:spPr bwMode="invGray">
          <a:xfrm>
            <a:off x="251097" y="5501063"/>
            <a:ext cx="190800" cy="266400"/>
          </a:xfr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1651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4F565054-9FE4-61FC-6279-4E53325CA571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96991 w 12192000"/>
              <a:gd name="connsiteY0" fmla="*/ 196850 h 6858000"/>
              <a:gd name="connsiteX1" fmla="*/ 789543 w 12192000"/>
              <a:gd name="connsiteY1" fmla="*/ 204357 h 6858000"/>
              <a:gd name="connsiteX2" fmla="*/ 789543 w 12192000"/>
              <a:gd name="connsiteY2" fmla="*/ 239387 h 6858000"/>
              <a:gd name="connsiteX3" fmla="*/ 796991 w 12192000"/>
              <a:gd name="connsiteY3" fmla="*/ 246894 h 6858000"/>
              <a:gd name="connsiteX4" fmla="*/ 806922 w 12192000"/>
              <a:gd name="connsiteY4" fmla="*/ 246894 h 6858000"/>
              <a:gd name="connsiteX5" fmla="*/ 809405 w 12192000"/>
              <a:gd name="connsiteY5" fmla="*/ 249395 h 6858000"/>
              <a:gd name="connsiteX6" fmla="*/ 809405 w 12192000"/>
              <a:gd name="connsiteY6" fmla="*/ 314453 h 6858000"/>
              <a:gd name="connsiteX7" fmla="*/ 806922 w 12192000"/>
              <a:gd name="connsiteY7" fmla="*/ 316955 h 6858000"/>
              <a:gd name="connsiteX8" fmla="*/ 796991 w 12192000"/>
              <a:gd name="connsiteY8" fmla="*/ 316955 h 6858000"/>
              <a:gd name="connsiteX9" fmla="*/ 789543 w 12192000"/>
              <a:gd name="connsiteY9" fmla="*/ 324461 h 6858000"/>
              <a:gd name="connsiteX10" fmla="*/ 789543 w 12192000"/>
              <a:gd name="connsiteY10" fmla="*/ 389517 h 6858000"/>
              <a:gd name="connsiteX11" fmla="*/ 796991 w 12192000"/>
              <a:gd name="connsiteY11" fmla="*/ 397024 h 6858000"/>
              <a:gd name="connsiteX12" fmla="*/ 891337 w 12192000"/>
              <a:gd name="connsiteY12" fmla="*/ 397024 h 6858000"/>
              <a:gd name="connsiteX13" fmla="*/ 898786 w 12192000"/>
              <a:gd name="connsiteY13" fmla="*/ 389517 h 6858000"/>
              <a:gd name="connsiteX14" fmla="*/ 898786 w 12192000"/>
              <a:gd name="connsiteY14" fmla="*/ 324461 h 6858000"/>
              <a:gd name="connsiteX15" fmla="*/ 891337 w 12192000"/>
              <a:gd name="connsiteY15" fmla="*/ 316955 h 6858000"/>
              <a:gd name="connsiteX16" fmla="*/ 881406 w 12192000"/>
              <a:gd name="connsiteY16" fmla="*/ 316955 h 6858000"/>
              <a:gd name="connsiteX17" fmla="*/ 878923 w 12192000"/>
              <a:gd name="connsiteY17" fmla="*/ 314453 h 6858000"/>
              <a:gd name="connsiteX18" fmla="*/ 878923 w 12192000"/>
              <a:gd name="connsiteY18" fmla="*/ 299439 h 6858000"/>
              <a:gd name="connsiteX19" fmla="*/ 881406 w 12192000"/>
              <a:gd name="connsiteY19" fmla="*/ 296937 h 6858000"/>
              <a:gd name="connsiteX20" fmla="*/ 906234 w 12192000"/>
              <a:gd name="connsiteY20" fmla="*/ 296937 h 6858000"/>
              <a:gd name="connsiteX21" fmla="*/ 908717 w 12192000"/>
              <a:gd name="connsiteY21" fmla="*/ 299382 h 6858000"/>
              <a:gd name="connsiteX22" fmla="*/ 916165 w 12192000"/>
              <a:gd name="connsiteY22" fmla="*/ 306946 h 6858000"/>
              <a:gd name="connsiteX23" fmla="*/ 970787 w 12192000"/>
              <a:gd name="connsiteY23" fmla="*/ 306946 h 6858000"/>
              <a:gd name="connsiteX24" fmla="*/ 978235 w 12192000"/>
              <a:gd name="connsiteY24" fmla="*/ 299439 h 6858000"/>
              <a:gd name="connsiteX25" fmla="*/ 978235 w 12192000"/>
              <a:gd name="connsiteY25" fmla="*/ 264409 h 6858000"/>
              <a:gd name="connsiteX26" fmla="*/ 970787 w 12192000"/>
              <a:gd name="connsiteY26" fmla="*/ 256902 h 6858000"/>
              <a:gd name="connsiteX27" fmla="*/ 916165 w 12192000"/>
              <a:gd name="connsiteY27" fmla="*/ 256902 h 6858000"/>
              <a:gd name="connsiteX28" fmla="*/ 908717 w 12192000"/>
              <a:gd name="connsiteY28" fmla="*/ 264466 h 6858000"/>
              <a:gd name="connsiteX29" fmla="*/ 906234 w 12192000"/>
              <a:gd name="connsiteY29" fmla="*/ 266911 h 6858000"/>
              <a:gd name="connsiteX30" fmla="*/ 881406 w 12192000"/>
              <a:gd name="connsiteY30" fmla="*/ 266911 h 6858000"/>
              <a:gd name="connsiteX31" fmla="*/ 878923 w 12192000"/>
              <a:gd name="connsiteY31" fmla="*/ 264409 h 6858000"/>
              <a:gd name="connsiteX32" fmla="*/ 878923 w 12192000"/>
              <a:gd name="connsiteY32" fmla="*/ 229378 h 6858000"/>
              <a:gd name="connsiteX33" fmla="*/ 881406 w 12192000"/>
              <a:gd name="connsiteY33" fmla="*/ 226876 h 6858000"/>
              <a:gd name="connsiteX34" fmla="*/ 955890 w 12192000"/>
              <a:gd name="connsiteY34" fmla="*/ 226876 h 6858000"/>
              <a:gd name="connsiteX35" fmla="*/ 958373 w 12192000"/>
              <a:gd name="connsiteY35" fmla="*/ 229378 h 6858000"/>
              <a:gd name="connsiteX36" fmla="*/ 958373 w 12192000"/>
              <a:gd name="connsiteY36" fmla="*/ 239387 h 6858000"/>
              <a:gd name="connsiteX37" fmla="*/ 965821 w 12192000"/>
              <a:gd name="connsiteY37" fmla="*/ 246894 h 6858000"/>
              <a:gd name="connsiteX38" fmla="*/ 1040304 w 12192000"/>
              <a:gd name="connsiteY38" fmla="*/ 246894 h 6858000"/>
              <a:gd name="connsiteX39" fmla="*/ 1047752 w 12192000"/>
              <a:gd name="connsiteY39" fmla="*/ 239387 h 6858000"/>
              <a:gd name="connsiteX40" fmla="*/ 1047752 w 12192000"/>
              <a:gd name="connsiteY40" fmla="*/ 204357 h 6858000"/>
              <a:gd name="connsiteX41" fmla="*/ 1040304 w 12192000"/>
              <a:gd name="connsiteY41" fmla="*/ 196850 h 6858000"/>
              <a:gd name="connsiteX42" fmla="*/ 499059 w 12192000"/>
              <a:gd name="connsiteY42" fmla="*/ 196850 h 6858000"/>
              <a:gd name="connsiteX43" fmla="*/ 491611 w 12192000"/>
              <a:gd name="connsiteY43" fmla="*/ 204357 h 6858000"/>
              <a:gd name="connsiteX44" fmla="*/ 491611 w 12192000"/>
              <a:gd name="connsiteY44" fmla="*/ 239387 h 6858000"/>
              <a:gd name="connsiteX45" fmla="*/ 499059 w 12192000"/>
              <a:gd name="connsiteY45" fmla="*/ 246894 h 6858000"/>
              <a:gd name="connsiteX46" fmla="*/ 508990 w 12192000"/>
              <a:gd name="connsiteY46" fmla="*/ 246894 h 6858000"/>
              <a:gd name="connsiteX47" fmla="*/ 511473 w 12192000"/>
              <a:gd name="connsiteY47" fmla="*/ 249395 h 6858000"/>
              <a:gd name="connsiteX48" fmla="*/ 511473 w 12192000"/>
              <a:gd name="connsiteY48" fmla="*/ 314453 h 6858000"/>
              <a:gd name="connsiteX49" fmla="*/ 508990 w 12192000"/>
              <a:gd name="connsiteY49" fmla="*/ 316955 h 6858000"/>
              <a:gd name="connsiteX50" fmla="*/ 499059 w 12192000"/>
              <a:gd name="connsiteY50" fmla="*/ 316955 h 6858000"/>
              <a:gd name="connsiteX51" fmla="*/ 491611 w 12192000"/>
              <a:gd name="connsiteY51" fmla="*/ 324461 h 6858000"/>
              <a:gd name="connsiteX52" fmla="*/ 491611 w 12192000"/>
              <a:gd name="connsiteY52" fmla="*/ 389517 h 6858000"/>
              <a:gd name="connsiteX53" fmla="*/ 499059 w 12192000"/>
              <a:gd name="connsiteY53" fmla="*/ 397024 h 6858000"/>
              <a:gd name="connsiteX54" fmla="*/ 573542 w 12192000"/>
              <a:gd name="connsiteY54" fmla="*/ 397024 h 6858000"/>
              <a:gd name="connsiteX55" fmla="*/ 580991 w 12192000"/>
              <a:gd name="connsiteY55" fmla="*/ 389517 h 6858000"/>
              <a:gd name="connsiteX56" fmla="*/ 580991 w 12192000"/>
              <a:gd name="connsiteY56" fmla="*/ 312986 h 6858000"/>
              <a:gd name="connsiteX57" fmla="*/ 585229 w 12192000"/>
              <a:gd name="connsiteY57" fmla="*/ 311216 h 6858000"/>
              <a:gd name="connsiteX58" fmla="*/ 668189 w 12192000"/>
              <a:gd name="connsiteY58" fmla="*/ 394825 h 6858000"/>
              <a:gd name="connsiteX59" fmla="*/ 673455 w 12192000"/>
              <a:gd name="connsiteY59" fmla="*/ 397024 h 6858000"/>
              <a:gd name="connsiteX60" fmla="*/ 742371 w 12192000"/>
              <a:gd name="connsiteY60" fmla="*/ 397024 h 6858000"/>
              <a:gd name="connsiteX61" fmla="*/ 749819 w 12192000"/>
              <a:gd name="connsiteY61" fmla="*/ 389517 h 6858000"/>
              <a:gd name="connsiteX62" fmla="*/ 749819 w 12192000"/>
              <a:gd name="connsiteY62" fmla="*/ 324461 h 6858000"/>
              <a:gd name="connsiteX63" fmla="*/ 742371 w 12192000"/>
              <a:gd name="connsiteY63" fmla="*/ 316955 h 6858000"/>
              <a:gd name="connsiteX64" fmla="*/ 713180 w 12192000"/>
              <a:gd name="connsiteY64" fmla="*/ 316955 h 6858000"/>
              <a:gd name="connsiteX65" fmla="*/ 707913 w 12192000"/>
              <a:gd name="connsiteY65" fmla="*/ 314755 h 6858000"/>
              <a:gd name="connsiteX66" fmla="*/ 644815 w 12192000"/>
              <a:gd name="connsiteY66" fmla="*/ 251164 h 6858000"/>
              <a:gd name="connsiteX67" fmla="*/ 646571 w 12192000"/>
              <a:gd name="connsiteY67" fmla="*/ 246893 h 6858000"/>
              <a:gd name="connsiteX68" fmla="*/ 712577 w 12192000"/>
              <a:gd name="connsiteY68" fmla="*/ 246893 h 6858000"/>
              <a:gd name="connsiteX69" fmla="*/ 720026 w 12192000"/>
              <a:gd name="connsiteY69" fmla="*/ 239386 h 6858000"/>
              <a:gd name="connsiteX70" fmla="*/ 720026 w 12192000"/>
              <a:gd name="connsiteY70" fmla="*/ 204357 h 6858000"/>
              <a:gd name="connsiteX71" fmla="*/ 712577 w 12192000"/>
              <a:gd name="connsiteY71" fmla="*/ 196850 h 6858000"/>
              <a:gd name="connsiteX72" fmla="*/ 653593 w 12192000"/>
              <a:gd name="connsiteY72" fmla="*/ 196850 h 6858000"/>
              <a:gd name="connsiteX73" fmla="*/ 648327 w 12192000"/>
              <a:gd name="connsiteY73" fmla="*/ 199049 h 6858000"/>
              <a:gd name="connsiteX74" fmla="*/ 585229 w 12192000"/>
              <a:gd name="connsiteY74" fmla="*/ 262641 h 6858000"/>
              <a:gd name="connsiteX75" fmla="*/ 580991 w 12192000"/>
              <a:gd name="connsiteY75" fmla="*/ 260871 h 6858000"/>
              <a:gd name="connsiteX76" fmla="*/ 580991 w 12192000"/>
              <a:gd name="connsiteY76" fmla="*/ 204357 h 6858000"/>
              <a:gd name="connsiteX77" fmla="*/ 573542 w 12192000"/>
              <a:gd name="connsiteY77" fmla="*/ 196850 h 6858000"/>
              <a:gd name="connsiteX78" fmla="*/ 230918 w 12192000"/>
              <a:gd name="connsiteY78" fmla="*/ 196850 h 6858000"/>
              <a:gd name="connsiteX79" fmla="*/ 223469 w 12192000"/>
              <a:gd name="connsiteY79" fmla="*/ 204357 h 6858000"/>
              <a:gd name="connsiteX80" fmla="*/ 223469 w 12192000"/>
              <a:gd name="connsiteY80" fmla="*/ 289430 h 6858000"/>
              <a:gd name="connsiteX81" fmla="*/ 230918 w 12192000"/>
              <a:gd name="connsiteY81" fmla="*/ 296937 h 6858000"/>
              <a:gd name="connsiteX82" fmla="*/ 360022 w 12192000"/>
              <a:gd name="connsiteY82" fmla="*/ 296937 h 6858000"/>
              <a:gd name="connsiteX83" fmla="*/ 362506 w 12192000"/>
              <a:gd name="connsiteY83" fmla="*/ 299439 h 6858000"/>
              <a:gd name="connsiteX84" fmla="*/ 362506 w 12192000"/>
              <a:gd name="connsiteY84" fmla="*/ 364496 h 6858000"/>
              <a:gd name="connsiteX85" fmla="*/ 360022 w 12192000"/>
              <a:gd name="connsiteY85" fmla="*/ 366998 h 6858000"/>
              <a:gd name="connsiteX86" fmla="*/ 285539 w 12192000"/>
              <a:gd name="connsiteY86" fmla="*/ 366998 h 6858000"/>
              <a:gd name="connsiteX87" fmla="*/ 283056 w 12192000"/>
              <a:gd name="connsiteY87" fmla="*/ 364496 h 6858000"/>
              <a:gd name="connsiteX88" fmla="*/ 283056 w 12192000"/>
              <a:gd name="connsiteY88" fmla="*/ 324461 h 6858000"/>
              <a:gd name="connsiteX89" fmla="*/ 275608 w 12192000"/>
              <a:gd name="connsiteY89" fmla="*/ 316955 h 6858000"/>
              <a:gd name="connsiteX90" fmla="*/ 201124 w 12192000"/>
              <a:gd name="connsiteY90" fmla="*/ 316955 h 6858000"/>
              <a:gd name="connsiteX91" fmla="*/ 193676 w 12192000"/>
              <a:gd name="connsiteY91" fmla="*/ 324461 h 6858000"/>
              <a:gd name="connsiteX92" fmla="*/ 193676 w 12192000"/>
              <a:gd name="connsiteY92" fmla="*/ 389517 h 6858000"/>
              <a:gd name="connsiteX93" fmla="*/ 201124 w 12192000"/>
              <a:gd name="connsiteY93" fmla="*/ 397024 h 6858000"/>
              <a:gd name="connsiteX94" fmla="*/ 444437 w 12192000"/>
              <a:gd name="connsiteY94" fmla="*/ 397024 h 6858000"/>
              <a:gd name="connsiteX95" fmla="*/ 451885 w 12192000"/>
              <a:gd name="connsiteY95" fmla="*/ 389517 h 6858000"/>
              <a:gd name="connsiteX96" fmla="*/ 451885 w 12192000"/>
              <a:gd name="connsiteY96" fmla="*/ 274418 h 6858000"/>
              <a:gd name="connsiteX97" fmla="*/ 444437 w 12192000"/>
              <a:gd name="connsiteY97" fmla="*/ 266911 h 6858000"/>
              <a:gd name="connsiteX98" fmla="*/ 295470 w 12192000"/>
              <a:gd name="connsiteY98" fmla="*/ 266911 h 6858000"/>
              <a:gd name="connsiteX99" fmla="*/ 292988 w 12192000"/>
              <a:gd name="connsiteY99" fmla="*/ 264409 h 6858000"/>
              <a:gd name="connsiteX100" fmla="*/ 292988 w 12192000"/>
              <a:gd name="connsiteY100" fmla="*/ 229378 h 6858000"/>
              <a:gd name="connsiteX101" fmla="*/ 295470 w 12192000"/>
              <a:gd name="connsiteY101" fmla="*/ 226876 h 6858000"/>
              <a:gd name="connsiteX102" fmla="*/ 350091 w 12192000"/>
              <a:gd name="connsiteY102" fmla="*/ 226876 h 6858000"/>
              <a:gd name="connsiteX103" fmla="*/ 352574 w 12192000"/>
              <a:gd name="connsiteY103" fmla="*/ 229377 h 6858000"/>
              <a:gd name="connsiteX104" fmla="*/ 352574 w 12192000"/>
              <a:gd name="connsiteY104" fmla="*/ 239387 h 6858000"/>
              <a:gd name="connsiteX105" fmla="*/ 360022 w 12192000"/>
              <a:gd name="connsiteY105" fmla="*/ 246894 h 6858000"/>
              <a:gd name="connsiteX106" fmla="*/ 414643 w 12192000"/>
              <a:gd name="connsiteY106" fmla="*/ 246894 h 6858000"/>
              <a:gd name="connsiteX107" fmla="*/ 422092 w 12192000"/>
              <a:gd name="connsiteY107" fmla="*/ 239387 h 6858000"/>
              <a:gd name="connsiteX108" fmla="*/ 422092 w 12192000"/>
              <a:gd name="connsiteY108" fmla="*/ 204357 h 6858000"/>
              <a:gd name="connsiteX109" fmla="*/ 414643 w 12192000"/>
              <a:gd name="connsiteY109" fmla="*/ 196850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796991" y="196850"/>
                </a:moveTo>
                <a:cubicBezTo>
                  <a:pt x="792879" y="196850"/>
                  <a:pt x="789543" y="200211"/>
                  <a:pt x="789543" y="204357"/>
                </a:cubicBezTo>
                <a:lnTo>
                  <a:pt x="789543" y="239387"/>
                </a:lnTo>
                <a:cubicBezTo>
                  <a:pt x="789543" y="243533"/>
                  <a:pt x="792879" y="246894"/>
                  <a:pt x="796991" y="246894"/>
                </a:cubicBezTo>
                <a:lnTo>
                  <a:pt x="806922" y="246894"/>
                </a:lnTo>
                <a:cubicBezTo>
                  <a:pt x="808295" y="246894"/>
                  <a:pt x="809405" y="248014"/>
                  <a:pt x="809405" y="249395"/>
                </a:cubicBezTo>
                <a:lnTo>
                  <a:pt x="809405" y="314453"/>
                </a:lnTo>
                <a:cubicBezTo>
                  <a:pt x="809405" y="315834"/>
                  <a:pt x="808295" y="316955"/>
                  <a:pt x="806922" y="316955"/>
                </a:cubicBezTo>
                <a:lnTo>
                  <a:pt x="796991" y="316955"/>
                </a:lnTo>
                <a:cubicBezTo>
                  <a:pt x="792879" y="316955"/>
                  <a:pt x="789543" y="320316"/>
                  <a:pt x="789543" y="324461"/>
                </a:cubicBezTo>
                <a:lnTo>
                  <a:pt x="789543" y="389517"/>
                </a:lnTo>
                <a:cubicBezTo>
                  <a:pt x="789543" y="393664"/>
                  <a:pt x="792879" y="397024"/>
                  <a:pt x="796991" y="397024"/>
                </a:cubicBezTo>
                <a:lnTo>
                  <a:pt x="891337" y="397024"/>
                </a:lnTo>
                <a:cubicBezTo>
                  <a:pt x="895451" y="397024"/>
                  <a:pt x="898786" y="393664"/>
                  <a:pt x="898786" y="389517"/>
                </a:cubicBezTo>
                <a:lnTo>
                  <a:pt x="898786" y="324461"/>
                </a:lnTo>
                <a:cubicBezTo>
                  <a:pt x="898786" y="320316"/>
                  <a:pt x="895451" y="316955"/>
                  <a:pt x="891337" y="316955"/>
                </a:cubicBezTo>
                <a:lnTo>
                  <a:pt x="881406" y="316955"/>
                </a:lnTo>
                <a:cubicBezTo>
                  <a:pt x="880035" y="316955"/>
                  <a:pt x="878923" y="315834"/>
                  <a:pt x="878923" y="314453"/>
                </a:cubicBezTo>
                <a:lnTo>
                  <a:pt x="878923" y="299439"/>
                </a:lnTo>
                <a:cubicBezTo>
                  <a:pt x="878923" y="298057"/>
                  <a:pt x="880035" y="296937"/>
                  <a:pt x="881406" y="296937"/>
                </a:cubicBezTo>
                <a:lnTo>
                  <a:pt x="906234" y="296937"/>
                </a:lnTo>
                <a:cubicBezTo>
                  <a:pt x="907586" y="296937"/>
                  <a:pt x="908726" y="298019"/>
                  <a:pt x="908717" y="299382"/>
                </a:cubicBezTo>
                <a:cubicBezTo>
                  <a:pt x="908685" y="303553"/>
                  <a:pt x="912032" y="306946"/>
                  <a:pt x="916165" y="306946"/>
                </a:cubicBezTo>
                <a:lnTo>
                  <a:pt x="970787" y="306946"/>
                </a:lnTo>
                <a:cubicBezTo>
                  <a:pt x="974899" y="306946"/>
                  <a:pt x="978235" y="303585"/>
                  <a:pt x="978235" y="299439"/>
                </a:cubicBezTo>
                <a:lnTo>
                  <a:pt x="978235" y="264409"/>
                </a:lnTo>
                <a:cubicBezTo>
                  <a:pt x="978235" y="260263"/>
                  <a:pt x="974899" y="256902"/>
                  <a:pt x="970787" y="256902"/>
                </a:cubicBezTo>
                <a:lnTo>
                  <a:pt x="916165" y="256902"/>
                </a:lnTo>
                <a:cubicBezTo>
                  <a:pt x="912032" y="256902"/>
                  <a:pt x="908685" y="260294"/>
                  <a:pt x="908717" y="264466"/>
                </a:cubicBezTo>
                <a:cubicBezTo>
                  <a:pt x="908726" y="265829"/>
                  <a:pt x="907586" y="266911"/>
                  <a:pt x="906234" y="266911"/>
                </a:cubicBezTo>
                <a:lnTo>
                  <a:pt x="881406" y="266911"/>
                </a:lnTo>
                <a:cubicBezTo>
                  <a:pt x="880035" y="266911"/>
                  <a:pt x="878923" y="265791"/>
                  <a:pt x="878923" y="264409"/>
                </a:cubicBezTo>
                <a:lnTo>
                  <a:pt x="878923" y="229378"/>
                </a:lnTo>
                <a:cubicBezTo>
                  <a:pt x="878923" y="227996"/>
                  <a:pt x="880035" y="226876"/>
                  <a:pt x="881406" y="226876"/>
                </a:cubicBezTo>
                <a:lnTo>
                  <a:pt x="955890" y="226876"/>
                </a:lnTo>
                <a:cubicBezTo>
                  <a:pt x="957261" y="226876"/>
                  <a:pt x="958373" y="227996"/>
                  <a:pt x="958373" y="229378"/>
                </a:cubicBezTo>
                <a:lnTo>
                  <a:pt x="958373" y="239387"/>
                </a:lnTo>
                <a:cubicBezTo>
                  <a:pt x="958373" y="243533"/>
                  <a:pt x="961707" y="246894"/>
                  <a:pt x="965821" y="246894"/>
                </a:cubicBezTo>
                <a:lnTo>
                  <a:pt x="1040304" y="246894"/>
                </a:lnTo>
                <a:cubicBezTo>
                  <a:pt x="1044417" y="246894"/>
                  <a:pt x="1047752" y="243533"/>
                  <a:pt x="1047752" y="239387"/>
                </a:cubicBezTo>
                <a:lnTo>
                  <a:pt x="1047752" y="204357"/>
                </a:lnTo>
                <a:cubicBezTo>
                  <a:pt x="1047752" y="200211"/>
                  <a:pt x="1044417" y="196850"/>
                  <a:pt x="1040304" y="196850"/>
                </a:cubicBezTo>
                <a:close/>
                <a:moveTo>
                  <a:pt x="499059" y="196850"/>
                </a:moveTo>
                <a:cubicBezTo>
                  <a:pt x="494946" y="196850"/>
                  <a:pt x="491611" y="200211"/>
                  <a:pt x="491611" y="204357"/>
                </a:cubicBezTo>
                <a:lnTo>
                  <a:pt x="491611" y="239387"/>
                </a:lnTo>
                <a:cubicBezTo>
                  <a:pt x="491611" y="243533"/>
                  <a:pt x="494946" y="246894"/>
                  <a:pt x="499059" y="246894"/>
                </a:cubicBezTo>
                <a:lnTo>
                  <a:pt x="508990" y="246894"/>
                </a:lnTo>
                <a:cubicBezTo>
                  <a:pt x="510362" y="246894"/>
                  <a:pt x="511473" y="248014"/>
                  <a:pt x="511473" y="249395"/>
                </a:cubicBezTo>
                <a:lnTo>
                  <a:pt x="511473" y="314453"/>
                </a:lnTo>
                <a:cubicBezTo>
                  <a:pt x="511473" y="315834"/>
                  <a:pt x="510362" y="316955"/>
                  <a:pt x="508990" y="316955"/>
                </a:cubicBezTo>
                <a:lnTo>
                  <a:pt x="499059" y="316955"/>
                </a:lnTo>
                <a:cubicBezTo>
                  <a:pt x="494946" y="316955"/>
                  <a:pt x="491611" y="320316"/>
                  <a:pt x="491611" y="324461"/>
                </a:cubicBezTo>
                <a:lnTo>
                  <a:pt x="491611" y="389517"/>
                </a:lnTo>
                <a:cubicBezTo>
                  <a:pt x="491611" y="393664"/>
                  <a:pt x="494946" y="397023"/>
                  <a:pt x="499059" y="397024"/>
                </a:cubicBezTo>
                <a:lnTo>
                  <a:pt x="573542" y="397024"/>
                </a:lnTo>
                <a:cubicBezTo>
                  <a:pt x="577656" y="397024"/>
                  <a:pt x="580991" y="393664"/>
                  <a:pt x="580991" y="389517"/>
                </a:cubicBezTo>
                <a:lnTo>
                  <a:pt x="580991" y="312986"/>
                </a:lnTo>
                <a:cubicBezTo>
                  <a:pt x="580991" y="310757"/>
                  <a:pt x="583666" y="309640"/>
                  <a:pt x="585229" y="311216"/>
                </a:cubicBezTo>
                <a:lnTo>
                  <a:pt x="668189" y="394825"/>
                </a:lnTo>
                <a:cubicBezTo>
                  <a:pt x="669585" y="396233"/>
                  <a:pt x="671480" y="397024"/>
                  <a:pt x="673455" y="397024"/>
                </a:cubicBezTo>
                <a:lnTo>
                  <a:pt x="742371" y="397024"/>
                </a:lnTo>
                <a:cubicBezTo>
                  <a:pt x="746484" y="397024"/>
                  <a:pt x="749819" y="393664"/>
                  <a:pt x="749819" y="389517"/>
                </a:cubicBezTo>
                <a:lnTo>
                  <a:pt x="749819" y="324461"/>
                </a:lnTo>
                <a:cubicBezTo>
                  <a:pt x="749819" y="320316"/>
                  <a:pt x="746484" y="316955"/>
                  <a:pt x="742371" y="316955"/>
                </a:cubicBezTo>
                <a:lnTo>
                  <a:pt x="713180" y="316955"/>
                </a:lnTo>
                <a:cubicBezTo>
                  <a:pt x="711204" y="316955"/>
                  <a:pt x="709310" y="316164"/>
                  <a:pt x="707913" y="314755"/>
                </a:cubicBezTo>
                <a:lnTo>
                  <a:pt x="644815" y="251164"/>
                </a:lnTo>
                <a:cubicBezTo>
                  <a:pt x="643251" y="249588"/>
                  <a:pt x="644358" y="246893"/>
                  <a:pt x="646571" y="246893"/>
                </a:cubicBezTo>
                <a:lnTo>
                  <a:pt x="712577" y="246893"/>
                </a:lnTo>
                <a:cubicBezTo>
                  <a:pt x="716691" y="246893"/>
                  <a:pt x="720026" y="243532"/>
                  <a:pt x="720026" y="239386"/>
                </a:cubicBezTo>
                <a:lnTo>
                  <a:pt x="720026" y="204357"/>
                </a:lnTo>
                <a:cubicBezTo>
                  <a:pt x="720026" y="200211"/>
                  <a:pt x="716691" y="196850"/>
                  <a:pt x="712577" y="196850"/>
                </a:cubicBezTo>
                <a:lnTo>
                  <a:pt x="653593" y="196850"/>
                </a:lnTo>
                <a:cubicBezTo>
                  <a:pt x="651618" y="196850"/>
                  <a:pt x="649723" y="197640"/>
                  <a:pt x="648327" y="199049"/>
                </a:cubicBezTo>
                <a:lnTo>
                  <a:pt x="585229" y="262641"/>
                </a:lnTo>
                <a:cubicBezTo>
                  <a:pt x="583666" y="264217"/>
                  <a:pt x="580991" y="263101"/>
                  <a:pt x="580991" y="260871"/>
                </a:cubicBezTo>
                <a:lnTo>
                  <a:pt x="580991" y="204357"/>
                </a:lnTo>
                <a:cubicBezTo>
                  <a:pt x="580991" y="200211"/>
                  <a:pt x="577656" y="196850"/>
                  <a:pt x="573542" y="196850"/>
                </a:cubicBezTo>
                <a:close/>
                <a:moveTo>
                  <a:pt x="230918" y="196850"/>
                </a:moveTo>
                <a:cubicBezTo>
                  <a:pt x="226804" y="196850"/>
                  <a:pt x="223469" y="200211"/>
                  <a:pt x="223469" y="204357"/>
                </a:cubicBezTo>
                <a:lnTo>
                  <a:pt x="223469" y="289430"/>
                </a:lnTo>
                <a:cubicBezTo>
                  <a:pt x="223469" y="293577"/>
                  <a:pt x="226804" y="296937"/>
                  <a:pt x="230918" y="296937"/>
                </a:cubicBezTo>
                <a:lnTo>
                  <a:pt x="360022" y="296937"/>
                </a:lnTo>
                <a:cubicBezTo>
                  <a:pt x="361394" y="296937"/>
                  <a:pt x="362506" y="298057"/>
                  <a:pt x="362506" y="299439"/>
                </a:cubicBezTo>
                <a:lnTo>
                  <a:pt x="362506" y="364496"/>
                </a:lnTo>
                <a:cubicBezTo>
                  <a:pt x="362506" y="365878"/>
                  <a:pt x="361394" y="366998"/>
                  <a:pt x="360022" y="366998"/>
                </a:cubicBezTo>
                <a:lnTo>
                  <a:pt x="285539" y="366998"/>
                </a:lnTo>
                <a:cubicBezTo>
                  <a:pt x="284167" y="366998"/>
                  <a:pt x="283056" y="365878"/>
                  <a:pt x="283056" y="364496"/>
                </a:cubicBezTo>
                <a:lnTo>
                  <a:pt x="283056" y="324461"/>
                </a:lnTo>
                <a:cubicBezTo>
                  <a:pt x="283056" y="320316"/>
                  <a:pt x="279722" y="316955"/>
                  <a:pt x="275608" y="316955"/>
                </a:cubicBezTo>
                <a:lnTo>
                  <a:pt x="201124" y="316955"/>
                </a:lnTo>
                <a:cubicBezTo>
                  <a:pt x="197011" y="316955"/>
                  <a:pt x="193676" y="320316"/>
                  <a:pt x="193676" y="324461"/>
                </a:cubicBezTo>
                <a:lnTo>
                  <a:pt x="193676" y="389517"/>
                </a:lnTo>
                <a:cubicBezTo>
                  <a:pt x="193676" y="393664"/>
                  <a:pt x="197011" y="397024"/>
                  <a:pt x="201124" y="397024"/>
                </a:cubicBezTo>
                <a:lnTo>
                  <a:pt x="444437" y="397024"/>
                </a:lnTo>
                <a:cubicBezTo>
                  <a:pt x="448551" y="397024"/>
                  <a:pt x="451885" y="393664"/>
                  <a:pt x="451885" y="389517"/>
                </a:cubicBezTo>
                <a:lnTo>
                  <a:pt x="451885" y="274418"/>
                </a:lnTo>
                <a:cubicBezTo>
                  <a:pt x="451885" y="270272"/>
                  <a:pt x="448551" y="266911"/>
                  <a:pt x="444437" y="266911"/>
                </a:cubicBezTo>
                <a:lnTo>
                  <a:pt x="295470" y="266911"/>
                </a:lnTo>
                <a:cubicBezTo>
                  <a:pt x="294099" y="266911"/>
                  <a:pt x="292988" y="265791"/>
                  <a:pt x="292988" y="264409"/>
                </a:cubicBezTo>
                <a:lnTo>
                  <a:pt x="292988" y="229378"/>
                </a:lnTo>
                <a:cubicBezTo>
                  <a:pt x="292988" y="227996"/>
                  <a:pt x="294099" y="226876"/>
                  <a:pt x="295470" y="226876"/>
                </a:cubicBezTo>
                <a:lnTo>
                  <a:pt x="350091" y="226876"/>
                </a:lnTo>
                <a:cubicBezTo>
                  <a:pt x="351463" y="226875"/>
                  <a:pt x="352574" y="227995"/>
                  <a:pt x="352574" y="229377"/>
                </a:cubicBezTo>
                <a:lnTo>
                  <a:pt x="352574" y="239387"/>
                </a:lnTo>
                <a:cubicBezTo>
                  <a:pt x="352574" y="243533"/>
                  <a:pt x="355909" y="246894"/>
                  <a:pt x="360022" y="246894"/>
                </a:cubicBezTo>
                <a:lnTo>
                  <a:pt x="414643" y="246894"/>
                </a:lnTo>
                <a:cubicBezTo>
                  <a:pt x="418757" y="246894"/>
                  <a:pt x="422092" y="243533"/>
                  <a:pt x="422092" y="239387"/>
                </a:cubicBezTo>
                <a:lnTo>
                  <a:pt x="422092" y="204357"/>
                </a:lnTo>
                <a:cubicBezTo>
                  <a:pt x="422092" y="200211"/>
                  <a:pt x="418757" y="196850"/>
                  <a:pt x="414643" y="1968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hank you!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2398712"/>
            <a:ext cx="3838574" cy="2058987"/>
          </a:xfrm>
        </p:spPr>
        <p:txBody>
          <a:bodyPr lIns="32400" tIns="0" bIns="36000"/>
          <a:lstStyle>
            <a:lvl1pPr marL="0" indent="0">
              <a:lnSpc>
                <a:spcPct val="107000"/>
              </a:lnSpc>
              <a:buNone/>
              <a:defRPr sz="160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Title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7DDE31B-2A15-20A0-30AF-0977CFAAF91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619919" y="5054400"/>
            <a:ext cx="4409281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.namesson@skf.com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F555CCC-4416-2B19-07C0-6B379333CE6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19919" y="5527800"/>
            <a:ext cx="4407457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+46 70 XXX XX XX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B1CA753-9E60-9918-6E37-0CCA59D38D37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9"/>
            </p:custDataLst>
          </p:nvPr>
        </p:nvSpPr>
        <p:spPr>
          <a:xfrm>
            <a:off x="619919" y="6001200"/>
            <a:ext cx="4406815" cy="216000"/>
          </a:xfrm>
        </p:spPr>
        <p:txBody>
          <a:bodyPr/>
          <a:lstStyle>
            <a:lvl1pPr marL="0" indent="0" algn="l">
              <a:buFontTx/>
              <a:buNone/>
              <a:defRPr sz="1400"/>
            </a:lvl1pPr>
            <a:lvl2pPr marL="180000" indent="0">
              <a:buFontTx/>
              <a:buNone/>
              <a:defRPr sz="1600"/>
            </a:lvl2pPr>
            <a:lvl3pPr marL="356400" indent="0">
              <a:buFontTx/>
              <a:buNone/>
              <a:defRPr sz="1600"/>
            </a:lvl3pPr>
            <a:lvl4pPr marL="356400" indent="0">
              <a:buFontTx/>
              <a:buNone/>
              <a:defRPr sz="1600"/>
            </a:lvl4pPr>
            <a:lvl5pPr marL="356400" indent="0">
              <a:buFontTx/>
              <a:buNone/>
              <a:defRPr sz="1600"/>
            </a:lvl5pPr>
          </a:lstStyle>
          <a:p>
            <a:pPr lvl="0"/>
            <a:r>
              <a:rPr lang="en-GB"/>
              <a:t>Name-namess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3F2E4-71D4-CBF0-F8E9-9CF09F476115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0"/>
            </p:custDataLst>
          </p:nvPr>
        </p:nvSpPr>
        <p:spPr>
          <a:xfrm>
            <a:off x="213297" y="5028177"/>
            <a:ext cx="266400" cy="266400"/>
          </a:xfr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C573ED3-F1E6-A9F0-6259-E5D1558A7A0C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1"/>
            </p:custDataLst>
          </p:nvPr>
        </p:nvSpPr>
        <p:spPr>
          <a:xfrm>
            <a:off x="213297" y="5973949"/>
            <a:ext cx="266400" cy="266400"/>
          </a:xfr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10FAA40-7F76-1B02-B5B3-3C72F8997A23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2"/>
            </p:custDataLst>
          </p:nvPr>
        </p:nvSpPr>
        <p:spPr>
          <a:xfrm>
            <a:off x="251097" y="5501063"/>
            <a:ext cx="190800" cy="266400"/>
          </a:xfrm>
          <a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180000" indent="0">
              <a:buFontTx/>
              <a:buNone/>
              <a:defRPr sz="100"/>
            </a:lvl2pPr>
            <a:lvl3pPr marL="356400" indent="0">
              <a:buFontTx/>
              <a:buNone/>
              <a:defRPr sz="100"/>
            </a:lvl3pPr>
            <a:lvl4pPr marL="356400" indent="0">
              <a:buFontTx/>
              <a:buNone/>
              <a:defRPr sz="100"/>
            </a:lvl4pPr>
            <a:lvl5pPr marL="356400" indent="0">
              <a:buFontTx/>
              <a:buNone/>
              <a:defRPr sz="100"/>
            </a:lvl5pPr>
          </a:lstStyle>
          <a:p>
            <a:pPr lvl="0"/>
            <a:r>
              <a:rPr lang="en-GB"/>
              <a:t>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661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2980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/>
          <a:lstStyle/>
          <a:p>
            <a:r>
              <a:rPr lang="en-GB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1426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Full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9">
            <a:extLst>
              <a:ext uri="{FF2B5EF4-FFF2-40B4-BE49-F238E27FC236}">
                <a16:creationId xmlns:a16="http://schemas.microsoft.com/office/drawing/2014/main" id="{797C20A3-2A2C-2E0F-E013-3708B26ADB8B}"/>
              </a:ext>
            </a:extLst>
          </p:cNvPr>
          <p:cNvSpPr>
            <a:spLocks noGrp="1"/>
          </p:cNvSpPr>
          <p:nvPr>
            <p:ph type="media" sz="quarter" idx="14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96991 w 12192000"/>
              <a:gd name="connsiteY0" fmla="*/ 196850 h 6858000"/>
              <a:gd name="connsiteX1" fmla="*/ 789543 w 12192000"/>
              <a:gd name="connsiteY1" fmla="*/ 204357 h 6858000"/>
              <a:gd name="connsiteX2" fmla="*/ 789543 w 12192000"/>
              <a:gd name="connsiteY2" fmla="*/ 239387 h 6858000"/>
              <a:gd name="connsiteX3" fmla="*/ 796991 w 12192000"/>
              <a:gd name="connsiteY3" fmla="*/ 246894 h 6858000"/>
              <a:gd name="connsiteX4" fmla="*/ 806922 w 12192000"/>
              <a:gd name="connsiteY4" fmla="*/ 246894 h 6858000"/>
              <a:gd name="connsiteX5" fmla="*/ 809405 w 12192000"/>
              <a:gd name="connsiteY5" fmla="*/ 249395 h 6858000"/>
              <a:gd name="connsiteX6" fmla="*/ 809405 w 12192000"/>
              <a:gd name="connsiteY6" fmla="*/ 314453 h 6858000"/>
              <a:gd name="connsiteX7" fmla="*/ 806922 w 12192000"/>
              <a:gd name="connsiteY7" fmla="*/ 316955 h 6858000"/>
              <a:gd name="connsiteX8" fmla="*/ 796991 w 12192000"/>
              <a:gd name="connsiteY8" fmla="*/ 316955 h 6858000"/>
              <a:gd name="connsiteX9" fmla="*/ 789543 w 12192000"/>
              <a:gd name="connsiteY9" fmla="*/ 324461 h 6858000"/>
              <a:gd name="connsiteX10" fmla="*/ 789543 w 12192000"/>
              <a:gd name="connsiteY10" fmla="*/ 389517 h 6858000"/>
              <a:gd name="connsiteX11" fmla="*/ 796991 w 12192000"/>
              <a:gd name="connsiteY11" fmla="*/ 397024 h 6858000"/>
              <a:gd name="connsiteX12" fmla="*/ 891337 w 12192000"/>
              <a:gd name="connsiteY12" fmla="*/ 397024 h 6858000"/>
              <a:gd name="connsiteX13" fmla="*/ 898786 w 12192000"/>
              <a:gd name="connsiteY13" fmla="*/ 389517 h 6858000"/>
              <a:gd name="connsiteX14" fmla="*/ 898786 w 12192000"/>
              <a:gd name="connsiteY14" fmla="*/ 324461 h 6858000"/>
              <a:gd name="connsiteX15" fmla="*/ 891337 w 12192000"/>
              <a:gd name="connsiteY15" fmla="*/ 316955 h 6858000"/>
              <a:gd name="connsiteX16" fmla="*/ 881406 w 12192000"/>
              <a:gd name="connsiteY16" fmla="*/ 316955 h 6858000"/>
              <a:gd name="connsiteX17" fmla="*/ 878923 w 12192000"/>
              <a:gd name="connsiteY17" fmla="*/ 314453 h 6858000"/>
              <a:gd name="connsiteX18" fmla="*/ 878923 w 12192000"/>
              <a:gd name="connsiteY18" fmla="*/ 299439 h 6858000"/>
              <a:gd name="connsiteX19" fmla="*/ 881406 w 12192000"/>
              <a:gd name="connsiteY19" fmla="*/ 296937 h 6858000"/>
              <a:gd name="connsiteX20" fmla="*/ 906234 w 12192000"/>
              <a:gd name="connsiteY20" fmla="*/ 296937 h 6858000"/>
              <a:gd name="connsiteX21" fmla="*/ 908717 w 12192000"/>
              <a:gd name="connsiteY21" fmla="*/ 299382 h 6858000"/>
              <a:gd name="connsiteX22" fmla="*/ 916165 w 12192000"/>
              <a:gd name="connsiteY22" fmla="*/ 306946 h 6858000"/>
              <a:gd name="connsiteX23" fmla="*/ 970787 w 12192000"/>
              <a:gd name="connsiteY23" fmla="*/ 306946 h 6858000"/>
              <a:gd name="connsiteX24" fmla="*/ 978235 w 12192000"/>
              <a:gd name="connsiteY24" fmla="*/ 299439 h 6858000"/>
              <a:gd name="connsiteX25" fmla="*/ 978235 w 12192000"/>
              <a:gd name="connsiteY25" fmla="*/ 264409 h 6858000"/>
              <a:gd name="connsiteX26" fmla="*/ 970787 w 12192000"/>
              <a:gd name="connsiteY26" fmla="*/ 256902 h 6858000"/>
              <a:gd name="connsiteX27" fmla="*/ 916165 w 12192000"/>
              <a:gd name="connsiteY27" fmla="*/ 256902 h 6858000"/>
              <a:gd name="connsiteX28" fmla="*/ 908717 w 12192000"/>
              <a:gd name="connsiteY28" fmla="*/ 264466 h 6858000"/>
              <a:gd name="connsiteX29" fmla="*/ 906234 w 12192000"/>
              <a:gd name="connsiteY29" fmla="*/ 266911 h 6858000"/>
              <a:gd name="connsiteX30" fmla="*/ 881406 w 12192000"/>
              <a:gd name="connsiteY30" fmla="*/ 266911 h 6858000"/>
              <a:gd name="connsiteX31" fmla="*/ 878923 w 12192000"/>
              <a:gd name="connsiteY31" fmla="*/ 264409 h 6858000"/>
              <a:gd name="connsiteX32" fmla="*/ 878923 w 12192000"/>
              <a:gd name="connsiteY32" fmla="*/ 229378 h 6858000"/>
              <a:gd name="connsiteX33" fmla="*/ 881406 w 12192000"/>
              <a:gd name="connsiteY33" fmla="*/ 226876 h 6858000"/>
              <a:gd name="connsiteX34" fmla="*/ 955890 w 12192000"/>
              <a:gd name="connsiteY34" fmla="*/ 226876 h 6858000"/>
              <a:gd name="connsiteX35" fmla="*/ 958373 w 12192000"/>
              <a:gd name="connsiteY35" fmla="*/ 229378 h 6858000"/>
              <a:gd name="connsiteX36" fmla="*/ 958373 w 12192000"/>
              <a:gd name="connsiteY36" fmla="*/ 239387 h 6858000"/>
              <a:gd name="connsiteX37" fmla="*/ 965821 w 12192000"/>
              <a:gd name="connsiteY37" fmla="*/ 246894 h 6858000"/>
              <a:gd name="connsiteX38" fmla="*/ 1040304 w 12192000"/>
              <a:gd name="connsiteY38" fmla="*/ 246894 h 6858000"/>
              <a:gd name="connsiteX39" fmla="*/ 1047752 w 12192000"/>
              <a:gd name="connsiteY39" fmla="*/ 239387 h 6858000"/>
              <a:gd name="connsiteX40" fmla="*/ 1047752 w 12192000"/>
              <a:gd name="connsiteY40" fmla="*/ 204357 h 6858000"/>
              <a:gd name="connsiteX41" fmla="*/ 1040304 w 12192000"/>
              <a:gd name="connsiteY41" fmla="*/ 196850 h 6858000"/>
              <a:gd name="connsiteX42" fmla="*/ 499059 w 12192000"/>
              <a:gd name="connsiteY42" fmla="*/ 196850 h 6858000"/>
              <a:gd name="connsiteX43" fmla="*/ 491611 w 12192000"/>
              <a:gd name="connsiteY43" fmla="*/ 204357 h 6858000"/>
              <a:gd name="connsiteX44" fmla="*/ 491611 w 12192000"/>
              <a:gd name="connsiteY44" fmla="*/ 239387 h 6858000"/>
              <a:gd name="connsiteX45" fmla="*/ 499059 w 12192000"/>
              <a:gd name="connsiteY45" fmla="*/ 246894 h 6858000"/>
              <a:gd name="connsiteX46" fmla="*/ 508990 w 12192000"/>
              <a:gd name="connsiteY46" fmla="*/ 246894 h 6858000"/>
              <a:gd name="connsiteX47" fmla="*/ 511473 w 12192000"/>
              <a:gd name="connsiteY47" fmla="*/ 249395 h 6858000"/>
              <a:gd name="connsiteX48" fmla="*/ 511473 w 12192000"/>
              <a:gd name="connsiteY48" fmla="*/ 314453 h 6858000"/>
              <a:gd name="connsiteX49" fmla="*/ 508990 w 12192000"/>
              <a:gd name="connsiteY49" fmla="*/ 316955 h 6858000"/>
              <a:gd name="connsiteX50" fmla="*/ 499059 w 12192000"/>
              <a:gd name="connsiteY50" fmla="*/ 316955 h 6858000"/>
              <a:gd name="connsiteX51" fmla="*/ 491611 w 12192000"/>
              <a:gd name="connsiteY51" fmla="*/ 324461 h 6858000"/>
              <a:gd name="connsiteX52" fmla="*/ 491611 w 12192000"/>
              <a:gd name="connsiteY52" fmla="*/ 389517 h 6858000"/>
              <a:gd name="connsiteX53" fmla="*/ 499059 w 12192000"/>
              <a:gd name="connsiteY53" fmla="*/ 397024 h 6858000"/>
              <a:gd name="connsiteX54" fmla="*/ 573542 w 12192000"/>
              <a:gd name="connsiteY54" fmla="*/ 397024 h 6858000"/>
              <a:gd name="connsiteX55" fmla="*/ 580991 w 12192000"/>
              <a:gd name="connsiteY55" fmla="*/ 389517 h 6858000"/>
              <a:gd name="connsiteX56" fmla="*/ 580991 w 12192000"/>
              <a:gd name="connsiteY56" fmla="*/ 312986 h 6858000"/>
              <a:gd name="connsiteX57" fmla="*/ 585229 w 12192000"/>
              <a:gd name="connsiteY57" fmla="*/ 311216 h 6858000"/>
              <a:gd name="connsiteX58" fmla="*/ 668189 w 12192000"/>
              <a:gd name="connsiteY58" fmla="*/ 394825 h 6858000"/>
              <a:gd name="connsiteX59" fmla="*/ 673455 w 12192000"/>
              <a:gd name="connsiteY59" fmla="*/ 397024 h 6858000"/>
              <a:gd name="connsiteX60" fmla="*/ 742371 w 12192000"/>
              <a:gd name="connsiteY60" fmla="*/ 397024 h 6858000"/>
              <a:gd name="connsiteX61" fmla="*/ 749819 w 12192000"/>
              <a:gd name="connsiteY61" fmla="*/ 389517 h 6858000"/>
              <a:gd name="connsiteX62" fmla="*/ 749819 w 12192000"/>
              <a:gd name="connsiteY62" fmla="*/ 324461 h 6858000"/>
              <a:gd name="connsiteX63" fmla="*/ 742371 w 12192000"/>
              <a:gd name="connsiteY63" fmla="*/ 316955 h 6858000"/>
              <a:gd name="connsiteX64" fmla="*/ 713180 w 12192000"/>
              <a:gd name="connsiteY64" fmla="*/ 316955 h 6858000"/>
              <a:gd name="connsiteX65" fmla="*/ 707913 w 12192000"/>
              <a:gd name="connsiteY65" fmla="*/ 314755 h 6858000"/>
              <a:gd name="connsiteX66" fmla="*/ 644815 w 12192000"/>
              <a:gd name="connsiteY66" fmla="*/ 251164 h 6858000"/>
              <a:gd name="connsiteX67" fmla="*/ 646571 w 12192000"/>
              <a:gd name="connsiteY67" fmla="*/ 246893 h 6858000"/>
              <a:gd name="connsiteX68" fmla="*/ 712577 w 12192000"/>
              <a:gd name="connsiteY68" fmla="*/ 246893 h 6858000"/>
              <a:gd name="connsiteX69" fmla="*/ 720026 w 12192000"/>
              <a:gd name="connsiteY69" fmla="*/ 239386 h 6858000"/>
              <a:gd name="connsiteX70" fmla="*/ 720026 w 12192000"/>
              <a:gd name="connsiteY70" fmla="*/ 204357 h 6858000"/>
              <a:gd name="connsiteX71" fmla="*/ 712577 w 12192000"/>
              <a:gd name="connsiteY71" fmla="*/ 196850 h 6858000"/>
              <a:gd name="connsiteX72" fmla="*/ 653593 w 12192000"/>
              <a:gd name="connsiteY72" fmla="*/ 196850 h 6858000"/>
              <a:gd name="connsiteX73" fmla="*/ 648327 w 12192000"/>
              <a:gd name="connsiteY73" fmla="*/ 199049 h 6858000"/>
              <a:gd name="connsiteX74" fmla="*/ 585229 w 12192000"/>
              <a:gd name="connsiteY74" fmla="*/ 262641 h 6858000"/>
              <a:gd name="connsiteX75" fmla="*/ 580991 w 12192000"/>
              <a:gd name="connsiteY75" fmla="*/ 260871 h 6858000"/>
              <a:gd name="connsiteX76" fmla="*/ 580991 w 12192000"/>
              <a:gd name="connsiteY76" fmla="*/ 204357 h 6858000"/>
              <a:gd name="connsiteX77" fmla="*/ 573542 w 12192000"/>
              <a:gd name="connsiteY77" fmla="*/ 196850 h 6858000"/>
              <a:gd name="connsiteX78" fmla="*/ 230918 w 12192000"/>
              <a:gd name="connsiteY78" fmla="*/ 196850 h 6858000"/>
              <a:gd name="connsiteX79" fmla="*/ 223469 w 12192000"/>
              <a:gd name="connsiteY79" fmla="*/ 204357 h 6858000"/>
              <a:gd name="connsiteX80" fmla="*/ 223469 w 12192000"/>
              <a:gd name="connsiteY80" fmla="*/ 289430 h 6858000"/>
              <a:gd name="connsiteX81" fmla="*/ 230918 w 12192000"/>
              <a:gd name="connsiteY81" fmla="*/ 296937 h 6858000"/>
              <a:gd name="connsiteX82" fmla="*/ 360022 w 12192000"/>
              <a:gd name="connsiteY82" fmla="*/ 296937 h 6858000"/>
              <a:gd name="connsiteX83" fmla="*/ 362506 w 12192000"/>
              <a:gd name="connsiteY83" fmla="*/ 299439 h 6858000"/>
              <a:gd name="connsiteX84" fmla="*/ 362506 w 12192000"/>
              <a:gd name="connsiteY84" fmla="*/ 364496 h 6858000"/>
              <a:gd name="connsiteX85" fmla="*/ 360022 w 12192000"/>
              <a:gd name="connsiteY85" fmla="*/ 366998 h 6858000"/>
              <a:gd name="connsiteX86" fmla="*/ 285539 w 12192000"/>
              <a:gd name="connsiteY86" fmla="*/ 366998 h 6858000"/>
              <a:gd name="connsiteX87" fmla="*/ 283056 w 12192000"/>
              <a:gd name="connsiteY87" fmla="*/ 364496 h 6858000"/>
              <a:gd name="connsiteX88" fmla="*/ 283056 w 12192000"/>
              <a:gd name="connsiteY88" fmla="*/ 324461 h 6858000"/>
              <a:gd name="connsiteX89" fmla="*/ 275608 w 12192000"/>
              <a:gd name="connsiteY89" fmla="*/ 316955 h 6858000"/>
              <a:gd name="connsiteX90" fmla="*/ 201124 w 12192000"/>
              <a:gd name="connsiteY90" fmla="*/ 316955 h 6858000"/>
              <a:gd name="connsiteX91" fmla="*/ 193676 w 12192000"/>
              <a:gd name="connsiteY91" fmla="*/ 324461 h 6858000"/>
              <a:gd name="connsiteX92" fmla="*/ 193676 w 12192000"/>
              <a:gd name="connsiteY92" fmla="*/ 389517 h 6858000"/>
              <a:gd name="connsiteX93" fmla="*/ 201124 w 12192000"/>
              <a:gd name="connsiteY93" fmla="*/ 397024 h 6858000"/>
              <a:gd name="connsiteX94" fmla="*/ 444437 w 12192000"/>
              <a:gd name="connsiteY94" fmla="*/ 397024 h 6858000"/>
              <a:gd name="connsiteX95" fmla="*/ 451885 w 12192000"/>
              <a:gd name="connsiteY95" fmla="*/ 389517 h 6858000"/>
              <a:gd name="connsiteX96" fmla="*/ 451885 w 12192000"/>
              <a:gd name="connsiteY96" fmla="*/ 274418 h 6858000"/>
              <a:gd name="connsiteX97" fmla="*/ 444437 w 12192000"/>
              <a:gd name="connsiteY97" fmla="*/ 266911 h 6858000"/>
              <a:gd name="connsiteX98" fmla="*/ 295470 w 12192000"/>
              <a:gd name="connsiteY98" fmla="*/ 266911 h 6858000"/>
              <a:gd name="connsiteX99" fmla="*/ 292988 w 12192000"/>
              <a:gd name="connsiteY99" fmla="*/ 264409 h 6858000"/>
              <a:gd name="connsiteX100" fmla="*/ 292988 w 12192000"/>
              <a:gd name="connsiteY100" fmla="*/ 229378 h 6858000"/>
              <a:gd name="connsiteX101" fmla="*/ 295470 w 12192000"/>
              <a:gd name="connsiteY101" fmla="*/ 226876 h 6858000"/>
              <a:gd name="connsiteX102" fmla="*/ 350091 w 12192000"/>
              <a:gd name="connsiteY102" fmla="*/ 226876 h 6858000"/>
              <a:gd name="connsiteX103" fmla="*/ 352574 w 12192000"/>
              <a:gd name="connsiteY103" fmla="*/ 229377 h 6858000"/>
              <a:gd name="connsiteX104" fmla="*/ 352574 w 12192000"/>
              <a:gd name="connsiteY104" fmla="*/ 239387 h 6858000"/>
              <a:gd name="connsiteX105" fmla="*/ 360022 w 12192000"/>
              <a:gd name="connsiteY105" fmla="*/ 246894 h 6858000"/>
              <a:gd name="connsiteX106" fmla="*/ 414643 w 12192000"/>
              <a:gd name="connsiteY106" fmla="*/ 246894 h 6858000"/>
              <a:gd name="connsiteX107" fmla="*/ 422092 w 12192000"/>
              <a:gd name="connsiteY107" fmla="*/ 239387 h 6858000"/>
              <a:gd name="connsiteX108" fmla="*/ 422092 w 12192000"/>
              <a:gd name="connsiteY108" fmla="*/ 204357 h 6858000"/>
              <a:gd name="connsiteX109" fmla="*/ 414643 w 12192000"/>
              <a:gd name="connsiteY109" fmla="*/ 196850 h 6858000"/>
              <a:gd name="connsiteX110" fmla="*/ 0 w 12192000"/>
              <a:gd name="connsiteY110" fmla="*/ 0 h 6858000"/>
              <a:gd name="connsiteX111" fmla="*/ 12192000 w 12192000"/>
              <a:gd name="connsiteY111" fmla="*/ 0 h 6858000"/>
              <a:gd name="connsiteX112" fmla="*/ 12192000 w 12192000"/>
              <a:gd name="connsiteY112" fmla="*/ 6858000 h 6858000"/>
              <a:gd name="connsiteX113" fmla="*/ 0 w 12192000"/>
              <a:gd name="connsiteY1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2192000" h="6858000">
                <a:moveTo>
                  <a:pt x="796991" y="196850"/>
                </a:moveTo>
                <a:cubicBezTo>
                  <a:pt x="792879" y="196850"/>
                  <a:pt x="789543" y="200211"/>
                  <a:pt x="789543" y="204357"/>
                </a:cubicBezTo>
                <a:lnTo>
                  <a:pt x="789543" y="239387"/>
                </a:lnTo>
                <a:cubicBezTo>
                  <a:pt x="789543" y="243533"/>
                  <a:pt x="792879" y="246894"/>
                  <a:pt x="796991" y="246894"/>
                </a:cubicBezTo>
                <a:lnTo>
                  <a:pt x="806922" y="246894"/>
                </a:lnTo>
                <a:cubicBezTo>
                  <a:pt x="808295" y="246894"/>
                  <a:pt x="809405" y="248014"/>
                  <a:pt x="809405" y="249395"/>
                </a:cubicBezTo>
                <a:lnTo>
                  <a:pt x="809405" y="314453"/>
                </a:lnTo>
                <a:cubicBezTo>
                  <a:pt x="809405" y="315834"/>
                  <a:pt x="808295" y="316955"/>
                  <a:pt x="806922" y="316955"/>
                </a:cubicBezTo>
                <a:lnTo>
                  <a:pt x="796991" y="316955"/>
                </a:lnTo>
                <a:cubicBezTo>
                  <a:pt x="792879" y="316955"/>
                  <a:pt x="789543" y="320316"/>
                  <a:pt x="789543" y="324461"/>
                </a:cubicBezTo>
                <a:lnTo>
                  <a:pt x="789543" y="389517"/>
                </a:lnTo>
                <a:cubicBezTo>
                  <a:pt x="789543" y="393664"/>
                  <a:pt x="792879" y="397024"/>
                  <a:pt x="796991" y="397024"/>
                </a:cubicBezTo>
                <a:lnTo>
                  <a:pt x="891337" y="397024"/>
                </a:lnTo>
                <a:cubicBezTo>
                  <a:pt x="895451" y="397024"/>
                  <a:pt x="898786" y="393664"/>
                  <a:pt x="898786" y="389517"/>
                </a:cubicBezTo>
                <a:lnTo>
                  <a:pt x="898786" y="324461"/>
                </a:lnTo>
                <a:cubicBezTo>
                  <a:pt x="898786" y="320316"/>
                  <a:pt x="895451" y="316955"/>
                  <a:pt x="891337" y="316955"/>
                </a:cubicBezTo>
                <a:lnTo>
                  <a:pt x="881406" y="316955"/>
                </a:lnTo>
                <a:cubicBezTo>
                  <a:pt x="880035" y="316955"/>
                  <a:pt x="878923" y="315834"/>
                  <a:pt x="878923" y="314453"/>
                </a:cubicBezTo>
                <a:lnTo>
                  <a:pt x="878923" y="299439"/>
                </a:lnTo>
                <a:cubicBezTo>
                  <a:pt x="878923" y="298057"/>
                  <a:pt x="880035" y="296937"/>
                  <a:pt x="881406" y="296937"/>
                </a:cubicBezTo>
                <a:lnTo>
                  <a:pt x="906234" y="296937"/>
                </a:lnTo>
                <a:cubicBezTo>
                  <a:pt x="907586" y="296937"/>
                  <a:pt x="908726" y="298019"/>
                  <a:pt x="908717" y="299382"/>
                </a:cubicBezTo>
                <a:cubicBezTo>
                  <a:pt x="908685" y="303553"/>
                  <a:pt x="912032" y="306946"/>
                  <a:pt x="916165" y="306946"/>
                </a:cubicBezTo>
                <a:lnTo>
                  <a:pt x="970787" y="306946"/>
                </a:lnTo>
                <a:cubicBezTo>
                  <a:pt x="974899" y="306946"/>
                  <a:pt x="978235" y="303585"/>
                  <a:pt x="978235" y="299439"/>
                </a:cubicBezTo>
                <a:lnTo>
                  <a:pt x="978235" y="264409"/>
                </a:lnTo>
                <a:cubicBezTo>
                  <a:pt x="978235" y="260263"/>
                  <a:pt x="974899" y="256902"/>
                  <a:pt x="970787" y="256902"/>
                </a:cubicBezTo>
                <a:lnTo>
                  <a:pt x="916165" y="256902"/>
                </a:lnTo>
                <a:cubicBezTo>
                  <a:pt x="912032" y="256902"/>
                  <a:pt x="908685" y="260294"/>
                  <a:pt x="908717" y="264466"/>
                </a:cubicBezTo>
                <a:cubicBezTo>
                  <a:pt x="908726" y="265829"/>
                  <a:pt x="907586" y="266911"/>
                  <a:pt x="906234" y="266911"/>
                </a:cubicBezTo>
                <a:lnTo>
                  <a:pt x="881406" y="266911"/>
                </a:lnTo>
                <a:cubicBezTo>
                  <a:pt x="880035" y="266911"/>
                  <a:pt x="878923" y="265791"/>
                  <a:pt x="878923" y="264409"/>
                </a:cubicBezTo>
                <a:lnTo>
                  <a:pt x="878923" y="229378"/>
                </a:lnTo>
                <a:cubicBezTo>
                  <a:pt x="878923" y="227996"/>
                  <a:pt x="880035" y="226876"/>
                  <a:pt x="881406" y="226876"/>
                </a:cubicBezTo>
                <a:lnTo>
                  <a:pt x="955890" y="226876"/>
                </a:lnTo>
                <a:cubicBezTo>
                  <a:pt x="957261" y="226876"/>
                  <a:pt x="958373" y="227996"/>
                  <a:pt x="958373" y="229378"/>
                </a:cubicBezTo>
                <a:lnTo>
                  <a:pt x="958373" y="239387"/>
                </a:lnTo>
                <a:cubicBezTo>
                  <a:pt x="958373" y="243533"/>
                  <a:pt x="961707" y="246894"/>
                  <a:pt x="965821" y="246894"/>
                </a:cubicBezTo>
                <a:lnTo>
                  <a:pt x="1040304" y="246894"/>
                </a:lnTo>
                <a:cubicBezTo>
                  <a:pt x="1044417" y="246894"/>
                  <a:pt x="1047752" y="243533"/>
                  <a:pt x="1047752" y="239387"/>
                </a:cubicBezTo>
                <a:lnTo>
                  <a:pt x="1047752" y="204357"/>
                </a:lnTo>
                <a:cubicBezTo>
                  <a:pt x="1047752" y="200211"/>
                  <a:pt x="1044417" y="196850"/>
                  <a:pt x="1040304" y="196850"/>
                </a:cubicBezTo>
                <a:close/>
                <a:moveTo>
                  <a:pt x="499059" y="196850"/>
                </a:moveTo>
                <a:cubicBezTo>
                  <a:pt x="494946" y="196850"/>
                  <a:pt x="491611" y="200211"/>
                  <a:pt x="491611" y="204357"/>
                </a:cubicBezTo>
                <a:lnTo>
                  <a:pt x="491611" y="239387"/>
                </a:lnTo>
                <a:cubicBezTo>
                  <a:pt x="491611" y="243533"/>
                  <a:pt x="494946" y="246894"/>
                  <a:pt x="499059" y="246894"/>
                </a:cubicBezTo>
                <a:lnTo>
                  <a:pt x="508990" y="246894"/>
                </a:lnTo>
                <a:cubicBezTo>
                  <a:pt x="510362" y="246894"/>
                  <a:pt x="511473" y="248014"/>
                  <a:pt x="511473" y="249395"/>
                </a:cubicBezTo>
                <a:lnTo>
                  <a:pt x="511473" y="314453"/>
                </a:lnTo>
                <a:cubicBezTo>
                  <a:pt x="511473" y="315834"/>
                  <a:pt x="510362" y="316955"/>
                  <a:pt x="508990" y="316955"/>
                </a:cubicBezTo>
                <a:lnTo>
                  <a:pt x="499059" y="316955"/>
                </a:lnTo>
                <a:cubicBezTo>
                  <a:pt x="494946" y="316955"/>
                  <a:pt x="491611" y="320316"/>
                  <a:pt x="491611" y="324461"/>
                </a:cubicBezTo>
                <a:lnTo>
                  <a:pt x="491611" y="389517"/>
                </a:lnTo>
                <a:cubicBezTo>
                  <a:pt x="491611" y="393664"/>
                  <a:pt x="494946" y="397023"/>
                  <a:pt x="499059" y="397024"/>
                </a:cubicBezTo>
                <a:lnTo>
                  <a:pt x="573542" y="397024"/>
                </a:lnTo>
                <a:cubicBezTo>
                  <a:pt x="577656" y="397024"/>
                  <a:pt x="580991" y="393664"/>
                  <a:pt x="580991" y="389517"/>
                </a:cubicBezTo>
                <a:lnTo>
                  <a:pt x="580991" y="312986"/>
                </a:lnTo>
                <a:cubicBezTo>
                  <a:pt x="580991" y="310757"/>
                  <a:pt x="583666" y="309640"/>
                  <a:pt x="585229" y="311216"/>
                </a:cubicBezTo>
                <a:lnTo>
                  <a:pt x="668189" y="394825"/>
                </a:lnTo>
                <a:cubicBezTo>
                  <a:pt x="669585" y="396233"/>
                  <a:pt x="671480" y="397024"/>
                  <a:pt x="673455" y="397024"/>
                </a:cubicBezTo>
                <a:lnTo>
                  <a:pt x="742371" y="397024"/>
                </a:lnTo>
                <a:cubicBezTo>
                  <a:pt x="746484" y="397024"/>
                  <a:pt x="749819" y="393664"/>
                  <a:pt x="749819" y="389517"/>
                </a:cubicBezTo>
                <a:lnTo>
                  <a:pt x="749819" y="324461"/>
                </a:lnTo>
                <a:cubicBezTo>
                  <a:pt x="749819" y="320316"/>
                  <a:pt x="746484" y="316955"/>
                  <a:pt x="742371" y="316955"/>
                </a:cubicBezTo>
                <a:lnTo>
                  <a:pt x="713180" y="316955"/>
                </a:lnTo>
                <a:cubicBezTo>
                  <a:pt x="711204" y="316955"/>
                  <a:pt x="709310" y="316164"/>
                  <a:pt x="707913" y="314755"/>
                </a:cubicBezTo>
                <a:lnTo>
                  <a:pt x="644815" y="251164"/>
                </a:lnTo>
                <a:cubicBezTo>
                  <a:pt x="643251" y="249588"/>
                  <a:pt x="644358" y="246893"/>
                  <a:pt x="646571" y="246893"/>
                </a:cubicBezTo>
                <a:lnTo>
                  <a:pt x="712577" y="246893"/>
                </a:lnTo>
                <a:cubicBezTo>
                  <a:pt x="716691" y="246893"/>
                  <a:pt x="720026" y="243532"/>
                  <a:pt x="720026" y="239386"/>
                </a:cubicBezTo>
                <a:lnTo>
                  <a:pt x="720026" y="204357"/>
                </a:lnTo>
                <a:cubicBezTo>
                  <a:pt x="720026" y="200211"/>
                  <a:pt x="716691" y="196850"/>
                  <a:pt x="712577" y="196850"/>
                </a:cubicBezTo>
                <a:lnTo>
                  <a:pt x="653593" y="196850"/>
                </a:lnTo>
                <a:cubicBezTo>
                  <a:pt x="651618" y="196850"/>
                  <a:pt x="649723" y="197640"/>
                  <a:pt x="648327" y="199049"/>
                </a:cubicBezTo>
                <a:lnTo>
                  <a:pt x="585229" y="262641"/>
                </a:lnTo>
                <a:cubicBezTo>
                  <a:pt x="583666" y="264217"/>
                  <a:pt x="580991" y="263101"/>
                  <a:pt x="580991" y="260871"/>
                </a:cubicBezTo>
                <a:lnTo>
                  <a:pt x="580991" y="204357"/>
                </a:lnTo>
                <a:cubicBezTo>
                  <a:pt x="580991" y="200211"/>
                  <a:pt x="577656" y="196850"/>
                  <a:pt x="573542" y="196850"/>
                </a:cubicBezTo>
                <a:close/>
                <a:moveTo>
                  <a:pt x="230918" y="196850"/>
                </a:moveTo>
                <a:cubicBezTo>
                  <a:pt x="226804" y="196850"/>
                  <a:pt x="223469" y="200211"/>
                  <a:pt x="223469" y="204357"/>
                </a:cubicBezTo>
                <a:lnTo>
                  <a:pt x="223469" y="289430"/>
                </a:lnTo>
                <a:cubicBezTo>
                  <a:pt x="223469" y="293577"/>
                  <a:pt x="226804" y="296937"/>
                  <a:pt x="230918" y="296937"/>
                </a:cubicBezTo>
                <a:lnTo>
                  <a:pt x="360022" y="296937"/>
                </a:lnTo>
                <a:cubicBezTo>
                  <a:pt x="361394" y="296937"/>
                  <a:pt x="362506" y="298057"/>
                  <a:pt x="362506" y="299439"/>
                </a:cubicBezTo>
                <a:lnTo>
                  <a:pt x="362506" y="364496"/>
                </a:lnTo>
                <a:cubicBezTo>
                  <a:pt x="362506" y="365878"/>
                  <a:pt x="361394" y="366998"/>
                  <a:pt x="360022" y="366998"/>
                </a:cubicBezTo>
                <a:lnTo>
                  <a:pt x="285539" y="366998"/>
                </a:lnTo>
                <a:cubicBezTo>
                  <a:pt x="284167" y="366998"/>
                  <a:pt x="283056" y="365878"/>
                  <a:pt x="283056" y="364496"/>
                </a:cubicBezTo>
                <a:lnTo>
                  <a:pt x="283056" y="324461"/>
                </a:lnTo>
                <a:cubicBezTo>
                  <a:pt x="283056" y="320316"/>
                  <a:pt x="279722" y="316955"/>
                  <a:pt x="275608" y="316955"/>
                </a:cubicBezTo>
                <a:lnTo>
                  <a:pt x="201124" y="316955"/>
                </a:lnTo>
                <a:cubicBezTo>
                  <a:pt x="197011" y="316955"/>
                  <a:pt x="193676" y="320316"/>
                  <a:pt x="193676" y="324461"/>
                </a:cubicBezTo>
                <a:lnTo>
                  <a:pt x="193676" y="389517"/>
                </a:lnTo>
                <a:cubicBezTo>
                  <a:pt x="193676" y="393664"/>
                  <a:pt x="197011" y="397024"/>
                  <a:pt x="201124" y="397024"/>
                </a:cubicBezTo>
                <a:lnTo>
                  <a:pt x="444437" y="397024"/>
                </a:lnTo>
                <a:cubicBezTo>
                  <a:pt x="448551" y="397024"/>
                  <a:pt x="451885" y="393664"/>
                  <a:pt x="451885" y="389517"/>
                </a:cubicBezTo>
                <a:lnTo>
                  <a:pt x="451885" y="274418"/>
                </a:lnTo>
                <a:cubicBezTo>
                  <a:pt x="451885" y="270272"/>
                  <a:pt x="448551" y="266911"/>
                  <a:pt x="444437" y="266911"/>
                </a:cubicBezTo>
                <a:lnTo>
                  <a:pt x="295470" y="266911"/>
                </a:lnTo>
                <a:cubicBezTo>
                  <a:pt x="294099" y="266911"/>
                  <a:pt x="292988" y="265791"/>
                  <a:pt x="292988" y="264409"/>
                </a:cubicBezTo>
                <a:lnTo>
                  <a:pt x="292988" y="229378"/>
                </a:lnTo>
                <a:cubicBezTo>
                  <a:pt x="292988" y="227996"/>
                  <a:pt x="294099" y="226876"/>
                  <a:pt x="295470" y="226876"/>
                </a:cubicBezTo>
                <a:lnTo>
                  <a:pt x="350091" y="226876"/>
                </a:lnTo>
                <a:cubicBezTo>
                  <a:pt x="351463" y="226875"/>
                  <a:pt x="352574" y="227995"/>
                  <a:pt x="352574" y="229377"/>
                </a:cubicBezTo>
                <a:lnTo>
                  <a:pt x="352574" y="239387"/>
                </a:lnTo>
                <a:cubicBezTo>
                  <a:pt x="352574" y="243533"/>
                  <a:pt x="355909" y="246894"/>
                  <a:pt x="360022" y="246894"/>
                </a:cubicBezTo>
                <a:lnTo>
                  <a:pt x="414643" y="246894"/>
                </a:lnTo>
                <a:cubicBezTo>
                  <a:pt x="418757" y="246894"/>
                  <a:pt x="422092" y="243533"/>
                  <a:pt x="422092" y="239387"/>
                </a:cubicBezTo>
                <a:lnTo>
                  <a:pt x="422092" y="204357"/>
                </a:lnTo>
                <a:cubicBezTo>
                  <a:pt x="422092" y="200211"/>
                  <a:pt x="418757" y="196850"/>
                  <a:pt x="414643" y="19685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2929F8-B9EB-0474-1562-E834B374A067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3675" y="1152525"/>
            <a:ext cx="5830887" cy="2062800"/>
          </a:xfrm>
        </p:spPr>
        <p:txBody>
          <a:bodyPr anchor="b">
            <a:noAutofit/>
          </a:bodyPr>
          <a:lstStyle>
            <a:lvl1pPr algn="l">
              <a:defRPr sz="4800" spc="-7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A66286-29C4-D74C-6A1A-1E46E86C328B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3676" y="3509963"/>
            <a:ext cx="4835524" cy="2049462"/>
          </a:xfrm>
        </p:spPr>
        <p:txBody>
          <a:bodyPr/>
          <a:lstStyle>
            <a:lvl1pPr marL="0" indent="0" algn="l">
              <a:lnSpc>
                <a:spcPct val="105000"/>
              </a:lnSpc>
              <a:spcBef>
                <a:spcPts val="0"/>
              </a:spcBef>
              <a:buNone/>
              <a:defRPr sz="16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2CFE7-D391-398C-1C33-953CBB8A179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891CF-20B6-0EB1-1074-AB87235D15B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812492-44A1-BE39-BFCD-FA4FA99EBFA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223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ext an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8156576" y="195263"/>
            <a:ext cx="3840161" cy="646588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6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7BDF4A0-123E-44AE-13FF-9D966D752A03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8"/>
            </p:custDataLst>
          </p:nvPr>
        </p:nvSpPr>
        <p:spPr>
          <a:xfrm>
            <a:off x="4175125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9568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C82C473-35FF-DDF0-2681-B3C08C9B12DB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8156576" y="195263"/>
            <a:ext cx="3840161" cy="3160712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7821612" cy="1101725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6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7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7BDF4A0-123E-44AE-13FF-9D966D752A03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8"/>
            </p:custDataLst>
          </p:nvPr>
        </p:nvSpPr>
        <p:spPr>
          <a:xfrm>
            <a:off x="4175125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684F13FC-3C9C-9B4B-C53E-7468C22660C9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9"/>
            </p:custDataLst>
          </p:nvPr>
        </p:nvSpPr>
        <p:spPr>
          <a:xfrm>
            <a:off x="8156576" y="3500438"/>
            <a:ext cx="3840161" cy="3160712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9201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hree Column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6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6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7BDF4A0-123E-44AE-13FF-9D966D752A03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7"/>
            </p:custDataLst>
          </p:nvPr>
        </p:nvSpPr>
        <p:spPr>
          <a:xfrm>
            <a:off x="4175125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AACCF8-0ED9-724F-946E-8E1D1BDA7E5B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8"/>
            </p:custDataLst>
          </p:nvPr>
        </p:nvSpPr>
        <p:spPr>
          <a:xfrm>
            <a:off x="8158163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3366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wo Chart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AACCF8-0ED9-724F-946E-8E1D1BDA7E5B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8158163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hart Placeholder 9">
            <a:extLst>
              <a:ext uri="{FF2B5EF4-FFF2-40B4-BE49-F238E27FC236}">
                <a16:creationId xmlns:a16="http://schemas.microsoft.com/office/drawing/2014/main" id="{C10B0A53-C391-DF87-C514-59B5FB4CA97C}"/>
              </a:ext>
            </a:extLst>
          </p:cNvPr>
          <p:cNvSpPr>
            <a:spLocks noGrp="1"/>
          </p:cNvSpPr>
          <p:nvPr>
            <p:ph type="chart" sz="quarter" idx="15"/>
            <p:custDataLst>
              <p:tags r:id="rId7"/>
            </p:custDataLst>
          </p:nvPr>
        </p:nvSpPr>
        <p:spPr>
          <a:xfrm>
            <a:off x="192087" y="2398714"/>
            <a:ext cx="3840163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CA972801-1298-AFEC-2F0E-E8B0C9C50D5D}"/>
              </a:ext>
            </a:extLst>
          </p:cNvPr>
          <p:cNvSpPr>
            <a:spLocks noGrp="1"/>
          </p:cNvSpPr>
          <p:nvPr>
            <p:ph type="chart" sz="quarter" idx="17"/>
            <p:custDataLst>
              <p:tags r:id="rId8"/>
            </p:custDataLst>
          </p:nvPr>
        </p:nvSpPr>
        <p:spPr>
          <a:xfrm>
            <a:off x="4173537" y="2398714"/>
            <a:ext cx="3840163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7597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wo Column Text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751AA-703F-ED5A-D6C8-E488C7359D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7821612" cy="1101725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4838400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AACCF8-0ED9-724F-946E-8E1D1BDA7E5B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193675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CA972801-1298-AFEC-2F0E-E8B0C9C50D5D}"/>
              </a:ext>
            </a:extLst>
          </p:cNvPr>
          <p:cNvSpPr>
            <a:spLocks noGrp="1"/>
          </p:cNvSpPr>
          <p:nvPr>
            <p:ph type="chart" sz="quarter" idx="17"/>
            <p:custDataLst>
              <p:tags r:id="rId7"/>
            </p:custDataLst>
          </p:nvPr>
        </p:nvSpPr>
        <p:spPr>
          <a:xfrm>
            <a:off x="8156575" y="2398713"/>
            <a:ext cx="3840163" cy="18144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Chart Placeholder 9">
            <a:extLst>
              <a:ext uri="{FF2B5EF4-FFF2-40B4-BE49-F238E27FC236}">
                <a16:creationId xmlns:a16="http://schemas.microsoft.com/office/drawing/2014/main" id="{C48EE729-ED63-1E51-0703-158F8240BA30}"/>
              </a:ext>
            </a:extLst>
          </p:cNvPr>
          <p:cNvSpPr>
            <a:spLocks noGrp="1"/>
          </p:cNvSpPr>
          <p:nvPr>
            <p:ph type="chart" sz="quarter" idx="18"/>
            <p:custDataLst>
              <p:tags r:id="rId8"/>
            </p:custDataLst>
          </p:nvPr>
        </p:nvSpPr>
        <p:spPr>
          <a:xfrm>
            <a:off x="8156575" y="4357113"/>
            <a:ext cx="3840163" cy="18144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C9FDE2B-7EFA-5476-EA19-5182184AA567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4175125" y="2398713"/>
            <a:ext cx="3840162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9726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3675" y="2398713"/>
            <a:ext cx="3838575" cy="377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6"/>
            </p:custDataLst>
          </p:nvPr>
        </p:nvSpPr>
        <p:spPr>
          <a:xfrm>
            <a:off x="4347276" y="2398714"/>
            <a:ext cx="7493430" cy="3772800"/>
          </a:xfrm>
        </p:spPr>
        <p:txBody>
          <a:bodyPr bIns="108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F93F4A6-BC9A-38EC-1B35-F8D9316B10A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3547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Product Shee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4175125" y="2398713"/>
            <a:ext cx="3840163" cy="4262213"/>
          </a:xfrm>
          <a:solidFill>
            <a:srgbClr val="EDEDED"/>
          </a:solidFill>
        </p:spPr>
        <p:txBody>
          <a:bodyPr lIns="144000" tIns="144000" rIns="144000" bIns="14400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AD62B65B-788D-6A17-B574-3F142CCD2EA8}"/>
              </a:ext>
            </a:extLst>
          </p:cNvPr>
          <p:cNvSpPr>
            <a:spLocks noGrp="1"/>
          </p:cNvSpPr>
          <p:nvPr>
            <p:ph type="tbl" sz="quarter" idx="17"/>
            <p:custDataLst>
              <p:tags r:id="rId6"/>
            </p:custDataLst>
          </p:nvPr>
        </p:nvSpPr>
        <p:spPr>
          <a:xfrm>
            <a:off x="193674" y="4608000"/>
            <a:ext cx="3838575" cy="2052926"/>
          </a:xfrm>
        </p:spPr>
        <p:txBody>
          <a:bodyPr bIns="72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8FC5BE9C-AE2F-6EA5-A8DE-4DCE1B1A4B18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7"/>
            </p:custDataLst>
          </p:nvPr>
        </p:nvSpPr>
        <p:spPr>
          <a:xfrm>
            <a:off x="193675" y="2398937"/>
            <a:ext cx="3838574" cy="2052926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8A0C465-8248-14B9-7A80-A32CBEB96D58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8169916" y="2398713"/>
            <a:ext cx="3828411" cy="4262213"/>
          </a:xfrm>
          <a:solidFill>
            <a:srgbClr val="EDEDED"/>
          </a:solidFill>
        </p:spPr>
        <p:txBody>
          <a:bodyPr lIns="144000" tIns="144000" rIns="144000" bIns="14400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16009AD-A4C9-83F1-F3F1-725E4B9666D6}"/>
              </a:ext>
            </a:extLst>
          </p:cNvPr>
          <p:cNvSpPr>
            <a:spLocks noGrp="1"/>
          </p:cNvSpPr>
          <p:nvPr>
            <p:ph type="body" idx="19"/>
            <p:custDataLst>
              <p:tags r:id="rId9"/>
            </p:custDataLst>
          </p:nvPr>
        </p:nvSpPr>
        <p:spPr>
          <a:xfrm>
            <a:off x="193675" y="1681163"/>
            <a:ext cx="7821614" cy="2448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C66CF23-1461-B441-D5B1-AD0AE1E262E5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93676" y="1152525"/>
            <a:ext cx="7822800" cy="514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858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Product Shee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3676" y="2398713"/>
            <a:ext cx="3838574" cy="4262213"/>
          </a:xfrm>
          <a:solidFill>
            <a:srgbClr val="EDEDED"/>
          </a:solidFill>
        </p:spPr>
        <p:txBody>
          <a:bodyPr lIns="144000" tIns="144000" rIns="144000" bIns="14400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8FC5BE9C-AE2F-6EA5-A8DE-4DCE1B1A4B18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6"/>
            </p:custDataLst>
          </p:nvPr>
        </p:nvSpPr>
        <p:spPr>
          <a:xfrm>
            <a:off x="8158163" y="2398713"/>
            <a:ext cx="3838574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8A0C465-8248-14B9-7A80-A32CBEB96D58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175126" y="2398713"/>
            <a:ext cx="3838574" cy="4262213"/>
          </a:xfrm>
          <a:solidFill>
            <a:srgbClr val="EDEDED"/>
          </a:solidFill>
        </p:spPr>
        <p:txBody>
          <a:bodyPr lIns="144000" tIns="144000" rIns="144000" bIns="14400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16009AD-A4C9-83F1-F3F1-725E4B9666D6}"/>
              </a:ext>
            </a:extLst>
          </p:cNvPr>
          <p:cNvSpPr>
            <a:spLocks noGrp="1"/>
          </p:cNvSpPr>
          <p:nvPr>
            <p:ph type="body" idx="19"/>
            <p:custDataLst>
              <p:tags r:id="rId8"/>
            </p:custDataLst>
          </p:nvPr>
        </p:nvSpPr>
        <p:spPr>
          <a:xfrm>
            <a:off x="193675" y="1681163"/>
            <a:ext cx="7821614" cy="2448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DB9748-2FBE-61E7-1A64-9E1C6DCADAD0}"/>
              </a:ext>
            </a:extLst>
          </p:cNvPr>
          <p:cNvSpPr>
            <a:spLocks noGrp="1"/>
          </p:cNvSpPr>
          <p:nvPr>
            <p:ph type="pic" sz="quarter" idx="20"/>
            <p:custDataLst>
              <p:tags r:id="rId9"/>
            </p:custDataLst>
          </p:nvPr>
        </p:nvSpPr>
        <p:spPr>
          <a:xfrm>
            <a:off x="8158163" y="4602163"/>
            <a:ext cx="3838574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938B805-AF8D-6767-5AEC-FF26BB1B42EF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93676" y="1152525"/>
            <a:ext cx="7821612" cy="514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6445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Three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3676" y="4896000"/>
            <a:ext cx="3838574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8FC5BE9C-AE2F-6EA5-A8DE-4DCE1B1A4B18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6"/>
            </p:custDataLst>
          </p:nvPr>
        </p:nvSpPr>
        <p:spPr>
          <a:xfrm>
            <a:off x="194400" y="2398713"/>
            <a:ext cx="3838574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8A0C465-8248-14B9-7A80-A32CBEB96D58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175126" y="4896000"/>
            <a:ext cx="3838574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16009AD-A4C9-83F1-F3F1-725E4B9666D6}"/>
              </a:ext>
            </a:extLst>
          </p:cNvPr>
          <p:cNvSpPr>
            <a:spLocks noGrp="1"/>
          </p:cNvSpPr>
          <p:nvPr>
            <p:ph type="body" idx="19"/>
            <p:custDataLst>
              <p:tags r:id="rId8"/>
            </p:custDataLst>
          </p:nvPr>
        </p:nvSpPr>
        <p:spPr>
          <a:xfrm>
            <a:off x="193675" y="1681163"/>
            <a:ext cx="7821614" cy="2448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DB9748-2FBE-61E7-1A64-9E1C6DCADAD0}"/>
              </a:ext>
            </a:extLst>
          </p:cNvPr>
          <p:cNvSpPr>
            <a:spLocks noGrp="1"/>
          </p:cNvSpPr>
          <p:nvPr>
            <p:ph type="pic" sz="quarter" idx="20"/>
            <p:custDataLst>
              <p:tags r:id="rId9"/>
            </p:custDataLst>
          </p:nvPr>
        </p:nvSpPr>
        <p:spPr>
          <a:xfrm>
            <a:off x="4176714" y="2398713"/>
            <a:ext cx="3838574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A482469D-A141-9348-619E-4BD7BCC0997E}"/>
              </a:ext>
            </a:extLst>
          </p:cNvPr>
          <p:cNvSpPr>
            <a:spLocks noGrp="1"/>
          </p:cNvSpPr>
          <p:nvPr>
            <p:ph type="pic" sz="quarter" idx="21"/>
            <p:custDataLst>
              <p:tags r:id="rId10"/>
            </p:custDataLst>
          </p:nvPr>
        </p:nvSpPr>
        <p:spPr>
          <a:xfrm>
            <a:off x="8161339" y="2398713"/>
            <a:ext cx="3838574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F2B1FA7-3823-4E43-CA29-7D02AC7CE581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1"/>
            </p:custDataLst>
          </p:nvPr>
        </p:nvSpPr>
        <p:spPr>
          <a:xfrm>
            <a:off x="8161339" y="4896000"/>
            <a:ext cx="3838574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6C3B36-EC3F-84A5-2B1C-2950CF5AB98C}"/>
              </a:ext>
            </a:extLst>
          </p:cNvPr>
          <p:cNvSpPr>
            <a:spLocks noGrp="1"/>
          </p:cNvSpPr>
          <p:nvPr>
            <p:ph type="body" idx="23" hasCustomPrompt="1"/>
            <p:custDataLst>
              <p:tags r:id="rId12"/>
            </p:custDataLst>
          </p:nvPr>
        </p:nvSpPr>
        <p:spPr>
          <a:xfrm>
            <a:off x="193675" y="4602163"/>
            <a:ext cx="3837600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8B3120-56ED-35DA-BCDE-07694A9F25C3}"/>
              </a:ext>
            </a:extLst>
          </p:cNvPr>
          <p:cNvSpPr>
            <a:spLocks noGrp="1"/>
          </p:cNvSpPr>
          <p:nvPr>
            <p:ph type="body" idx="24" hasCustomPrompt="1"/>
            <p:custDataLst>
              <p:tags r:id="rId13"/>
            </p:custDataLst>
          </p:nvPr>
        </p:nvSpPr>
        <p:spPr>
          <a:xfrm>
            <a:off x="4177688" y="4602163"/>
            <a:ext cx="3837600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DA9ED01-9EE4-9283-3D4A-7F3E8F033988}"/>
              </a:ext>
            </a:extLst>
          </p:cNvPr>
          <p:cNvSpPr>
            <a:spLocks noGrp="1"/>
          </p:cNvSpPr>
          <p:nvPr>
            <p:ph type="body" idx="25" hasCustomPrompt="1"/>
            <p:custDataLst>
              <p:tags r:id="rId14"/>
            </p:custDataLst>
          </p:nvPr>
        </p:nvSpPr>
        <p:spPr>
          <a:xfrm>
            <a:off x="8161826" y="4602163"/>
            <a:ext cx="3837600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5BE744C-5D96-F457-9651-E7F74E966E98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93676" y="1152525"/>
            <a:ext cx="7821612" cy="514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737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Four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3676" y="4896000"/>
            <a:ext cx="2844799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8FC5BE9C-AE2F-6EA5-A8DE-4DCE1B1A4B18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6"/>
            </p:custDataLst>
          </p:nvPr>
        </p:nvSpPr>
        <p:spPr>
          <a:xfrm>
            <a:off x="194400" y="2398713"/>
            <a:ext cx="2844799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8A0C465-8248-14B9-7A80-A32CBEB96D58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3177924" y="4896000"/>
            <a:ext cx="2844799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16009AD-A4C9-83F1-F3F1-725E4B9666D6}"/>
              </a:ext>
            </a:extLst>
          </p:cNvPr>
          <p:cNvSpPr>
            <a:spLocks noGrp="1"/>
          </p:cNvSpPr>
          <p:nvPr>
            <p:ph type="body" idx="19"/>
            <p:custDataLst>
              <p:tags r:id="rId8"/>
            </p:custDataLst>
          </p:nvPr>
        </p:nvSpPr>
        <p:spPr>
          <a:xfrm>
            <a:off x="193675" y="1681163"/>
            <a:ext cx="7821614" cy="2448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DB9748-2FBE-61E7-1A64-9E1C6DCADAD0}"/>
              </a:ext>
            </a:extLst>
          </p:cNvPr>
          <p:cNvSpPr>
            <a:spLocks noGrp="1"/>
          </p:cNvSpPr>
          <p:nvPr>
            <p:ph type="pic" sz="quarter" idx="20"/>
            <p:custDataLst>
              <p:tags r:id="rId9"/>
            </p:custDataLst>
          </p:nvPr>
        </p:nvSpPr>
        <p:spPr>
          <a:xfrm>
            <a:off x="3179512" y="2398713"/>
            <a:ext cx="2844799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A482469D-A141-9348-619E-4BD7BCC0997E}"/>
              </a:ext>
            </a:extLst>
          </p:cNvPr>
          <p:cNvSpPr>
            <a:spLocks noGrp="1"/>
          </p:cNvSpPr>
          <p:nvPr>
            <p:ph type="pic" sz="quarter" idx="21"/>
            <p:custDataLst>
              <p:tags r:id="rId10"/>
            </p:custDataLst>
          </p:nvPr>
        </p:nvSpPr>
        <p:spPr>
          <a:xfrm>
            <a:off x="6169279" y="2398713"/>
            <a:ext cx="2844799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F2B1FA7-3823-4E43-CA29-7D02AC7CE581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1"/>
            </p:custDataLst>
          </p:nvPr>
        </p:nvSpPr>
        <p:spPr>
          <a:xfrm>
            <a:off x="6169279" y="4896000"/>
            <a:ext cx="2844799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6C3B36-EC3F-84A5-2B1C-2950CF5AB98C}"/>
              </a:ext>
            </a:extLst>
          </p:cNvPr>
          <p:cNvSpPr>
            <a:spLocks noGrp="1"/>
          </p:cNvSpPr>
          <p:nvPr>
            <p:ph type="body" idx="23" hasCustomPrompt="1"/>
            <p:custDataLst>
              <p:tags r:id="rId12"/>
            </p:custDataLst>
          </p:nvPr>
        </p:nvSpPr>
        <p:spPr>
          <a:xfrm>
            <a:off x="193675" y="4602163"/>
            <a:ext cx="284407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8B3120-56ED-35DA-BCDE-07694A9F25C3}"/>
              </a:ext>
            </a:extLst>
          </p:cNvPr>
          <p:cNvSpPr>
            <a:spLocks noGrp="1"/>
          </p:cNvSpPr>
          <p:nvPr>
            <p:ph type="body" idx="24" hasCustomPrompt="1"/>
            <p:custDataLst>
              <p:tags r:id="rId13"/>
            </p:custDataLst>
          </p:nvPr>
        </p:nvSpPr>
        <p:spPr>
          <a:xfrm>
            <a:off x="3180486" y="4602163"/>
            <a:ext cx="284407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DA9ED01-9EE4-9283-3D4A-7F3E8F033988}"/>
              </a:ext>
            </a:extLst>
          </p:cNvPr>
          <p:cNvSpPr>
            <a:spLocks noGrp="1"/>
          </p:cNvSpPr>
          <p:nvPr>
            <p:ph type="body" idx="25" hasCustomPrompt="1"/>
            <p:custDataLst>
              <p:tags r:id="rId14"/>
            </p:custDataLst>
          </p:nvPr>
        </p:nvSpPr>
        <p:spPr>
          <a:xfrm>
            <a:off x="6169766" y="4602163"/>
            <a:ext cx="284407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6DADAEE6-E03A-A62D-4B27-C5DD191C3851}"/>
              </a:ext>
            </a:extLst>
          </p:cNvPr>
          <p:cNvSpPr>
            <a:spLocks noGrp="1"/>
          </p:cNvSpPr>
          <p:nvPr>
            <p:ph type="pic" sz="quarter" idx="26"/>
            <p:custDataLst>
              <p:tags r:id="rId15"/>
            </p:custDataLst>
          </p:nvPr>
        </p:nvSpPr>
        <p:spPr>
          <a:xfrm>
            <a:off x="9159046" y="2398713"/>
            <a:ext cx="2844799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E9286B-F251-21E9-DED1-23A87CDBD853}"/>
              </a:ext>
            </a:extLst>
          </p:cNvPr>
          <p:cNvSpPr>
            <a:spLocks noGrp="1"/>
          </p:cNvSpPr>
          <p:nvPr>
            <p:ph type="body" sz="quarter" idx="27"/>
            <p:custDataLst>
              <p:tags r:id="rId16"/>
            </p:custDataLst>
          </p:nvPr>
        </p:nvSpPr>
        <p:spPr>
          <a:xfrm>
            <a:off x="9159046" y="4896000"/>
            <a:ext cx="2844799" cy="1270800"/>
          </a:xfrm>
          <a:noFill/>
        </p:spPr>
        <p:txBody>
          <a:bodyPr lIns="0" tIns="0" rIns="0" bIns="0"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1F24326-799F-B331-0B6C-B2E448FC7367}"/>
              </a:ext>
            </a:extLst>
          </p:cNvPr>
          <p:cNvSpPr>
            <a:spLocks noGrp="1"/>
          </p:cNvSpPr>
          <p:nvPr>
            <p:ph type="body" idx="28" hasCustomPrompt="1"/>
            <p:custDataLst>
              <p:tags r:id="rId17"/>
            </p:custDataLst>
          </p:nvPr>
        </p:nvSpPr>
        <p:spPr>
          <a:xfrm>
            <a:off x="9159533" y="4602163"/>
            <a:ext cx="284407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03263BE4-061D-1E19-481D-AEA0C80D88B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193676" y="1152525"/>
            <a:ext cx="7821612" cy="514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4388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D03BF-BF52-0146-05B6-6A91E00D9B5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483552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437BF5-3DA6-A7E5-7B70-4C4A15DF1F1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6D667B-CF0E-92F4-586B-706246CEEC9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A0E120-60D7-0917-7052-11EDA87B89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099B62-5367-A494-B3BB-AF79701C79E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6165850" y="1308099"/>
            <a:ext cx="5830888" cy="4251325"/>
          </a:xfrm>
        </p:spPr>
        <p:txBody>
          <a:bodyPr/>
          <a:lstStyle>
            <a:lvl1pPr marL="342000" indent="-342000">
              <a:lnSpc>
                <a:spcPct val="100000"/>
              </a:lnSpc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744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. Six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A26A16-D3E2-5AE8-E064-6866E1E5D20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0F14F5-A232-416E-10D5-B031E0C7F3A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65E6A-C531-6348-CEDC-30A348C0125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FC9D3-A51B-B4EC-69B4-0F0363ABCF0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93677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9E9B24B-4ED7-A4BD-B52D-52A237FEA2F2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5"/>
            </p:custDataLst>
          </p:nvPr>
        </p:nvSpPr>
        <p:spPr>
          <a:xfrm>
            <a:off x="193675" y="932925"/>
            <a:ext cx="3838574" cy="219600"/>
          </a:xfrm>
        </p:spPr>
        <p:txBody>
          <a:bodyPr lIns="32400" tIns="0" bIns="36000"/>
          <a:lstStyle>
            <a:lvl1pPr marL="0" indent="0">
              <a:lnSpc>
                <a:spcPct val="105000"/>
              </a:lnSpc>
              <a:buNone/>
              <a:defRPr sz="12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Navigation / Chapter</a:t>
            </a:r>
            <a:endParaRPr lang="en-GB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8FC5BE9C-AE2F-6EA5-A8DE-4DCE1B1A4B18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6"/>
            </p:custDataLst>
          </p:nvPr>
        </p:nvSpPr>
        <p:spPr>
          <a:xfrm>
            <a:off x="194400" y="2398713"/>
            <a:ext cx="1849436" cy="20589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8A0C465-8248-14B9-7A80-A32CBEB96D58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2184719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16009AD-A4C9-83F1-F3F1-725E4B9666D6}"/>
              </a:ext>
            </a:extLst>
          </p:cNvPr>
          <p:cNvSpPr>
            <a:spLocks noGrp="1"/>
          </p:cNvSpPr>
          <p:nvPr>
            <p:ph type="body" idx="19"/>
            <p:custDataLst>
              <p:tags r:id="rId8"/>
            </p:custDataLst>
          </p:nvPr>
        </p:nvSpPr>
        <p:spPr>
          <a:xfrm>
            <a:off x="193675" y="1681163"/>
            <a:ext cx="7821614" cy="2448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DB9748-2FBE-61E7-1A64-9E1C6DCADAD0}"/>
              </a:ext>
            </a:extLst>
          </p:cNvPr>
          <p:cNvSpPr>
            <a:spLocks noGrp="1"/>
          </p:cNvSpPr>
          <p:nvPr>
            <p:ph type="pic" sz="quarter" idx="20"/>
            <p:custDataLst>
              <p:tags r:id="rId9"/>
            </p:custDataLst>
          </p:nvPr>
        </p:nvSpPr>
        <p:spPr>
          <a:xfrm>
            <a:off x="2185298" y="2398713"/>
            <a:ext cx="1849436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A482469D-A141-9348-619E-4BD7BCC0997E}"/>
              </a:ext>
            </a:extLst>
          </p:cNvPr>
          <p:cNvSpPr>
            <a:spLocks noGrp="1"/>
          </p:cNvSpPr>
          <p:nvPr>
            <p:ph type="pic" sz="quarter" idx="21"/>
            <p:custDataLst>
              <p:tags r:id="rId10"/>
            </p:custDataLst>
          </p:nvPr>
        </p:nvSpPr>
        <p:spPr>
          <a:xfrm>
            <a:off x="4176196" y="2398713"/>
            <a:ext cx="1849436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F2B1FA7-3823-4E43-CA29-7D02AC7CE581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11"/>
            </p:custDataLst>
          </p:nvPr>
        </p:nvSpPr>
        <p:spPr>
          <a:xfrm>
            <a:off x="4175761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6C3B36-EC3F-84A5-2B1C-2950CF5AB98C}"/>
              </a:ext>
            </a:extLst>
          </p:cNvPr>
          <p:cNvSpPr>
            <a:spLocks noGrp="1"/>
          </p:cNvSpPr>
          <p:nvPr>
            <p:ph type="body" idx="23" hasCustomPrompt="1"/>
            <p:custDataLst>
              <p:tags r:id="rId12"/>
            </p:custDataLst>
          </p:nvPr>
        </p:nvSpPr>
        <p:spPr>
          <a:xfrm>
            <a:off x="193675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8B3120-56ED-35DA-BCDE-07694A9F25C3}"/>
              </a:ext>
            </a:extLst>
          </p:cNvPr>
          <p:cNvSpPr>
            <a:spLocks noGrp="1"/>
          </p:cNvSpPr>
          <p:nvPr>
            <p:ph type="body" idx="24" hasCustomPrompt="1"/>
            <p:custDataLst>
              <p:tags r:id="rId13"/>
            </p:custDataLst>
          </p:nvPr>
        </p:nvSpPr>
        <p:spPr>
          <a:xfrm>
            <a:off x="2184815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DA9ED01-9EE4-9283-3D4A-7F3E8F033988}"/>
              </a:ext>
            </a:extLst>
          </p:cNvPr>
          <p:cNvSpPr>
            <a:spLocks noGrp="1"/>
          </p:cNvSpPr>
          <p:nvPr>
            <p:ph type="body" idx="25" hasCustomPrompt="1"/>
            <p:custDataLst>
              <p:tags r:id="rId14"/>
            </p:custDataLst>
          </p:nvPr>
        </p:nvSpPr>
        <p:spPr>
          <a:xfrm>
            <a:off x="4175955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6DADAEE6-E03A-A62D-4B27-C5DD191C3851}"/>
              </a:ext>
            </a:extLst>
          </p:cNvPr>
          <p:cNvSpPr>
            <a:spLocks noGrp="1"/>
          </p:cNvSpPr>
          <p:nvPr>
            <p:ph type="pic" sz="quarter" idx="26"/>
            <p:custDataLst>
              <p:tags r:id="rId15"/>
            </p:custDataLst>
          </p:nvPr>
        </p:nvSpPr>
        <p:spPr>
          <a:xfrm>
            <a:off x="6167094" y="2398713"/>
            <a:ext cx="1849436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E9286B-F251-21E9-DED1-23A87CDBD853}"/>
              </a:ext>
            </a:extLst>
          </p:cNvPr>
          <p:cNvSpPr>
            <a:spLocks noGrp="1"/>
          </p:cNvSpPr>
          <p:nvPr>
            <p:ph type="body" sz="quarter" idx="27"/>
            <p:custDataLst>
              <p:tags r:id="rId16"/>
            </p:custDataLst>
          </p:nvPr>
        </p:nvSpPr>
        <p:spPr>
          <a:xfrm>
            <a:off x="6166803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1F24326-799F-B331-0B6C-B2E448FC7367}"/>
              </a:ext>
            </a:extLst>
          </p:cNvPr>
          <p:cNvSpPr>
            <a:spLocks noGrp="1"/>
          </p:cNvSpPr>
          <p:nvPr>
            <p:ph type="body" idx="28" hasCustomPrompt="1"/>
            <p:custDataLst>
              <p:tags r:id="rId17"/>
            </p:custDataLst>
          </p:nvPr>
        </p:nvSpPr>
        <p:spPr>
          <a:xfrm>
            <a:off x="6167095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BA0E27CC-88C5-D2AC-43C2-FABEE1DFDBFF}"/>
              </a:ext>
            </a:extLst>
          </p:cNvPr>
          <p:cNvSpPr>
            <a:spLocks noGrp="1"/>
          </p:cNvSpPr>
          <p:nvPr>
            <p:ph type="pic" sz="quarter" idx="29"/>
            <p:custDataLst>
              <p:tags r:id="rId18"/>
            </p:custDataLst>
          </p:nvPr>
        </p:nvSpPr>
        <p:spPr>
          <a:xfrm>
            <a:off x="8157992" y="2398713"/>
            <a:ext cx="1849436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0F91DF-A7A9-39F4-C417-1D19A07CDCB1}"/>
              </a:ext>
            </a:extLst>
          </p:cNvPr>
          <p:cNvSpPr>
            <a:spLocks noGrp="1"/>
          </p:cNvSpPr>
          <p:nvPr>
            <p:ph type="body" sz="quarter" idx="30"/>
            <p:custDataLst>
              <p:tags r:id="rId19"/>
            </p:custDataLst>
          </p:nvPr>
        </p:nvSpPr>
        <p:spPr>
          <a:xfrm>
            <a:off x="8157845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7EFBD7B-9E06-73C2-87F9-5DF924185F5E}"/>
              </a:ext>
            </a:extLst>
          </p:cNvPr>
          <p:cNvSpPr>
            <a:spLocks noGrp="1"/>
          </p:cNvSpPr>
          <p:nvPr>
            <p:ph type="body" idx="31" hasCustomPrompt="1"/>
            <p:custDataLst>
              <p:tags r:id="rId20"/>
            </p:custDataLst>
          </p:nvPr>
        </p:nvSpPr>
        <p:spPr>
          <a:xfrm>
            <a:off x="8158235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33AF0B5A-52FF-FFA0-972C-F01B2490150B}"/>
              </a:ext>
            </a:extLst>
          </p:cNvPr>
          <p:cNvSpPr>
            <a:spLocks noGrp="1"/>
          </p:cNvSpPr>
          <p:nvPr>
            <p:ph type="pic" sz="quarter" idx="32"/>
            <p:custDataLst>
              <p:tags r:id="rId21"/>
            </p:custDataLst>
          </p:nvPr>
        </p:nvSpPr>
        <p:spPr>
          <a:xfrm>
            <a:off x="10148888" y="2398713"/>
            <a:ext cx="1849436" cy="2058763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1E8D7D-E574-5E9D-A86F-4940CE277D51}"/>
              </a:ext>
            </a:extLst>
          </p:cNvPr>
          <p:cNvSpPr>
            <a:spLocks noGrp="1"/>
          </p:cNvSpPr>
          <p:nvPr>
            <p:ph type="body" sz="quarter" idx="33"/>
            <p:custDataLst>
              <p:tags r:id="rId22"/>
            </p:custDataLst>
          </p:nvPr>
        </p:nvSpPr>
        <p:spPr>
          <a:xfrm>
            <a:off x="10148888" y="4896000"/>
            <a:ext cx="1849436" cy="1270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 sz="1200"/>
            </a:lvl1pPr>
            <a:lvl2pPr marL="180000" indent="0"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9F4F82D-C8EB-6B3E-83B2-97C958E3A669}"/>
              </a:ext>
            </a:extLst>
          </p:cNvPr>
          <p:cNvSpPr>
            <a:spLocks noGrp="1"/>
          </p:cNvSpPr>
          <p:nvPr>
            <p:ph type="body" idx="34" hasCustomPrompt="1"/>
            <p:custDataLst>
              <p:tags r:id="rId23"/>
            </p:custDataLst>
          </p:nvPr>
        </p:nvSpPr>
        <p:spPr>
          <a:xfrm>
            <a:off x="10149374" y="4602163"/>
            <a:ext cx="1848967" cy="244800"/>
          </a:xfrm>
        </p:spPr>
        <p:txBody>
          <a:bodyPr anchor="t" anchorCtr="0"/>
          <a:lstStyle>
            <a:lvl1pPr marL="0" indent="0">
              <a:buNone/>
              <a:defRPr sz="14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D02BBA9E-2E18-D8AF-C6EA-132A411939DE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193676" y="1152525"/>
            <a:ext cx="7821612" cy="514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7348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CB348-8279-41F3-9980-A1172114C4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7050" y="2508250"/>
            <a:ext cx="7204550" cy="5436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defRPr sz="3200" cap="all" baseline="0"/>
            </a:lvl1pPr>
          </a:lstStyle>
          <a:p>
            <a:r>
              <a:rPr lang="en-GB" noProof="0" dirty="0"/>
              <a:t>ENTER TITLE – JUST ONE LINE</a:t>
            </a:r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id="{0C32FF60-6FE8-4461-972D-A358F17082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40000" y="2520000"/>
            <a:ext cx="2286000" cy="54292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A584E0-8547-4EBA-93A4-9919707E8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37050" y="3218400"/>
            <a:ext cx="7204550" cy="1080000"/>
          </a:xfrm>
          <a:prstGeom prst="rect">
            <a:avLst/>
          </a:prstGeom>
        </p:spPr>
        <p:txBody>
          <a:bodyPr/>
          <a:lstStyle>
            <a:lvl1pPr algn="l">
              <a:defRPr sz="2000"/>
            </a:lvl1pPr>
          </a:lstStyle>
          <a:p>
            <a:pPr lvl="0"/>
            <a:r>
              <a:rPr lang="en-GB" noProof="0" dirty="0"/>
              <a:t>Enter 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769169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580">
          <p15:clr>
            <a:srgbClr val="FBAE40"/>
          </p15:clr>
        </p15:guide>
        <p15:guide id="2" pos="273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AACD53D-220E-4DFE-B6B1-6C6131C95ED3}"/>
              </a:ext>
            </a:extLst>
          </p:cNvPr>
          <p:cNvSpPr/>
          <p:nvPr userDrawn="1"/>
        </p:nvSpPr>
        <p:spPr>
          <a:xfrm>
            <a:off x="180000" y="540000"/>
            <a:ext cx="11833200" cy="6156326"/>
          </a:xfrm>
          <a:prstGeom prst="rect">
            <a:avLst/>
          </a:prstGeom>
          <a:solidFill>
            <a:srgbClr val="5F5F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18F717A-AEE1-448D-8297-B65D1013C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4588E-EDBE-4767-AE90-F3C3C11E5B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A877567A-31B7-4D9B-9FA3-529F52DCA7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6292DD6A-D95C-49C4-A09E-49954026D21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3B8F14C-FF5A-464F-8949-9B00171420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1953983"/>
      </p:ext>
    </p:extLst>
  </p:cSld>
  <p:clrMapOvr>
    <a:masterClrMapping/>
  </p:clrMapOvr>
  <p:transition spd="slow">
    <p:push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9FFBC9-38A7-4848-A04D-0FE0E698BEB0}"/>
              </a:ext>
            </a:extLst>
          </p:cNvPr>
          <p:cNvSpPr/>
          <p:nvPr userDrawn="1"/>
        </p:nvSpPr>
        <p:spPr>
          <a:xfrm>
            <a:off x="180000" y="540000"/>
            <a:ext cx="11833200" cy="6140450"/>
          </a:xfrm>
          <a:prstGeom prst="rect">
            <a:avLst/>
          </a:prstGeom>
          <a:solidFill>
            <a:srgbClr val="EB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66A52C3-A678-48E2-BFC2-80EAC5E1D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rgbClr val="000000"/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99653BA-8942-448A-92BF-691B416340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0DB38C5D-4587-4253-81D6-06CFFA3E65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5C155B0-E9E6-484D-AC00-BE7E7BE4A6CB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A384B32-2192-432D-8DE3-404E08B631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0677214"/>
      </p:ext>
    </p:extLst>
  </p:cSld>
  <p:clrMapOvr>
    <a:masterClrMapping/>
  </p:clrMapOvr>
  <p:transition spd="slow">
    <p:push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9FFBC9-38A7-4848-A04D-0FE0E698BEB0}"/>
              </a:ext>
            </a:extLst>
          </p:cNvPr>
          <p:cNvSpPr/>
          <p:nvPr userDrawn="1"/>
        </p:nvSpPr>
        <p:spPr>
          <a:xfrm>
            <a:off x="180000" y="540000"/>
            <a:ext cx="11833200" cy="6140450"/>
          </a:xfrm>
          <a:prstGeom prst="rect">
            <a:avLst/>
          </a:prstGeom>
          <a:solidFill>
            <a:srgbClr val="7862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585AB0-D6AC-4B6E-A764-FD2CAA75A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3182782"/>
            <a:ext cx="11833200" cy="492443"/>
          </a:xfrm>
          <a:prstGeom prst="rect">
            <a:avLst/>
          </a:prstGeom>
        </p:spPr>
        <p:txBody>
          <a:bodyPr wrap="none" lIns="180000" rIns="180000" anchor="ctr">
            <a:noAutofit/>
          </a:bodyPr>
          <a:lstStyle>
            <a:lvl1pPr algn="ctr">
              <a:lnSpc>
                <a:spcPct val="100000"/>
              </a:lnSpc>
              <a:defRPr sz="3200" cap="all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noProof="0" dirty="0"/>
              <a:t>ENTER SECTION HEADER – JUST ONE LIN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DEEEA16-4FF1-4ABD-A324-59C70EF926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4D1589C-4BA5-4AA8-925B-24BE7728E8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554AF94-FE31-48FA-98BE-CFBAA400FB83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C6FCC10-3F8E-46FD-8674-BCD3D86F50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0487358"/>
      </p:ext>
    </p:extLst>
  </p:cSld>
  <p:clrMapOvr>
    <a:masterClrMapping/>
  </p:clrMapOvr>
  <p:transition spd="slow">
    <p:push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556354-608B-4787-8DE7-B1332BE078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0000" y="540000"/>
            <a:ext cx="11833200" cy="61404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AE61C4-43D1-401F-9D54-F9FB6B080A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5677200"/>
            <a:ext cx="5554800" cy="640800"/>
          </a:xfrm>
          <a:prstGeom prst="rect">
            <a:avLst/>
          </a:prstGeom>
          <a:solidFill>
            <a:srgbClr val="000000">
              <a:alpha val="60000"/>
            </a:srgbClr>
          </a:solidFill>
        </p:spPr>
        <p:txBody>
          <a:bodyPr vert="horz" lIns="180000" tIns="180000" rIns="180000" bIns="180000" anchor="b" anchorCtr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 noProof="0" dirty="0"/>
              <a:t>Remove this textbox if no caption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068D0A-F18A-4F70-9C7E-31EDA5B7EE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CD1D0CB-5FD8-4A4A-812D-7DA6EBEA56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5618C83-F056-4BDA-9D99-02AD24DDBCCC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A006013-28DF-4DE2-BF63-CD8BFE454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10235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orient="horz" pos="3981">
          <p15:clr>
            <a:srgbClr val="FBAE40"/>
          </p15:clr>
        </p15:guide>
        <p15:guide id="3" pos="33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E850CC31-ED22-4F3F-A1B4-0C5FC1349455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180000" y="540000"/>
            <a:ext cx="11833200" cy="6140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icon to add media 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E537F4-6FE1-4910-A3DD-AFB5CC9631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2093B71E-EFD3-45AC-A22F-5587F00ED5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1B1C576-E309-4693-80E1-431F7886658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875D520-DEC3-4D51-8576-4C105CBCA8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8292810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107C0F9-0B49-4A3F-88BD-00EFED694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3950" y="536575"/>
            <a:ext cx="7399338" cy="18160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and add tit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8BFA0F4-9C74-4C78-B342-6D09C562D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E21A9B79-955C-41CE-B02B-06B2DABD4E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C8DA350-5CB0-4463-8133-9E5588E73346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2DC3582-BD3E-48E7-B4A4-089A9CC51E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84FB65-B7C5-42A5-8C41-DD17DFE909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393950" y="2517776"/>
            <a:ext cx="7399338" cy="415925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0901406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1482">
          <p15:clr>
            <a:srgbClr val="FBAE40"/>
          </p15:clr>
        </p15:guide>
        <p15:guide id="2" pos="1508">
          <p15:clr>
            <a:srgbClr val="FBAE40"/>
          </p15:clr>
        </p15:guide>
        <p15:guide id="3" pos="6169">
          <p15:clr>
            <a:srgbClr val="FBAE40"/>
          </p15:clr>
        </p15:guide>
        <p15:guide id="4" orient="horz" pos="158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60F0F4E-3794-41C1-980B-E757B2EA76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0000" y="540000"/>
            <a:ext cx="7200000" cy="6138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Icon to add picture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3A53AC-611C-4659-AC44-69E8130D30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8088" y="536575"/>
            <a:ext cx="4456112" cy="1800000"/>
          </a:xfrm>
          <a:prstGeom prst="rect">
            <a:avLst/>
          </a:prstGeom>
        </p:spPr>
        <p:txBody>
          <a:bodyPr rIns="180000" anchor="b"/>
          <a:lstStyle>
            <a:lvl1pPr>
              <a:defRPr sz="3200"/>
            </a:lvl1pPr>
          </a:lstStyle>
          <a:p>
            <a:r>
              <a:rPr lang="en-GB" noProof="0" dirty="0"/>
              <a:t>Click and add 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EC200BA-345F-4D94-8545-3B91E79EFC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6D30DFC-88EB-4419-87B7-16A9B0C86B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31C82D8E-5556-4B59-B906-8F750C8D4E62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D39D7DD-F191-4C92-B4AA-A3704E8259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388983-6D37-4892-852E-C72ACDF10D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58088" y="2537025"/>
            <a:ext cx="4456112" cy="4140000"/>
          </a:xfrm>
        </p:spPr>
        <p:txBody>
          <a:bodyPr rIns="18000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0470984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4650">
          <p15:clr>
            <a:srgbClr val="FBAE40"/>
          </p15:clr>
        </p15:guide>
        <p15:guide id="3" pos="476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00" y="540000"/>
            <a:ext cx="11070000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and add title – just one lin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49B0FC7-218C-4ED8-AEBF-AEECCA7A99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3ECB66E-0F10-4E1E-AF3A-542B809333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8AC1422E-3668-4382-B9A9-4FD644140E9C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FF0BAD8-4D41-4514-9ACD-FE581DE8D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7E77CB-6747-49BD-88CB-1119FAF0964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80000" y="1208088"/>
            <a:ext cx="5829300" cy="5468937"/>
          </a:xfrm>
        </p:spPr>
        <p:txBody>
          <a:bodyPr lIns="0" rIns="18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9535B78-6C09-40CA-BE21-62E1ED086F0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83313" y="1208088"/>
            <a:ext cx="5830887" cy="5468937"/>
          </a:xfrm>
        </p:spPr>
        <p:txBody>
          <a:bodyPr lIns="0" rIns="18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222322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784">
          <p15:clr>
            <a:srgbClr val="FBAE40"/>
          </p15:clr>
        </p15:guide>
        <p15:guide id="2" pos="3895">
          <p15:clr>
            <a:srgbClr val="FBAE40"/>
          </p15:clr>
        </p15:guide>
        <p15:guide id="3" orient="horz" pos="76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D03BF-BF52-0146-05B6-6A91E00D9B5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3676" y="1152525"/>
            <a:ext cx="9812334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437BF5-3DA6-A7E5-7B70-4C4A15DF1F1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6D667B-CF0E-92F4-586B-706246CEEC9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A0E120-60D7-0917-7052-11EDA87B89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099B62-5367-A494-B3BB-AF79701C79E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193675" y="2398712"/>
            <a:ext cx="11803063" cy="4262437"/>
          </a:xfrm>
        </p:spPr>
        <p:txBody>
          <a:bodyPr/>
          <a:lstStyle>
            <a:lvl1pPr marL="342000" indent="-342000">
              <a:lnSpc>
                <a:spcPct val="100000"/>
              </a:lnSpc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2327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0000" y="540000"/>
            <a:ext cx="11071406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to add title – just one lin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812A744-68F0-48EB-ADEB-279AC8FA13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8819E4F-4959-4C72-B66E-2EFE8143F8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7258C50-FB20-4233-ABB9-28323FF1F3A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632852E-E03B-49B0-89F3-05DB67721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8901414"/>
      </p:ext>
    </p:extLst>
  </p:cSld>
  <p:clrMapOvr>
    <a:masterClrMapping/>
  </p:clrMapOvr>
  <p:transition spd="slow">
    <p:push dir="u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65F0C-7AA2-4877-97CA-DE55B13E5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0000" y="540000"/>
            <a:ext cx="11071406" cy="492443"/>
          </a:xfrm>
          <a:prstGeom prst="rect">
            <a:avLst/>
          </a:prstGeom>
        </p:spPr>
        <p:txBody>
          <a:bodyPr wrap="square" lIns="0" rIns="18000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noProof="0" dirty="0"/>
              <a:t>Click to add title – just one lin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812A744-68F0-48EB-ADEB-279AC8FA13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8819E4F-4959-4C72-B66E-2EFE8143F8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47258C50-FB20-4233-ABB9-28323FF1F3AE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632852E-E03B-49B0-89F3-05DB67721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A68000-1941-4DA0-8A1F-8EBDA65AC0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388" y="1209600"/>
            <a:ext cx="11833200" cy="546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8193071"/>
      </p:ext>
    </p:extLst>
  </p:cSld>
  <p:clrMapOvr>
    <a:masterClrMapping/>
  </p:clrMapOvr>
  <p:transition spd="slow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7699F8D-C613-4ED6-B268-165946804A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931775-1B7D-4040-AEE6-E0835CF3DE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38DDC05-C5AB-4C50-8C8B-94920D70AB40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9D35D-17DA-41F7-B040-E653B35AA5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1864257"/>
      </p:ext>
    </p:extLst>
  </p:cSld>
  <p:clrMapOvr>
    <a:masterClrMapping/>
  </p:clrMapOvr>
  <p:transition spd="slow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9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84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784A558-9456-4415-9BA2-08FE263444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9400" y="542925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89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D2C7A91-7897-4A7F-B8EA-CB6C7D0C4EF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184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3964DBB-1C66-4A21-92C8-A4D9E6AB2A6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79400" y="3703724"/>
            <a:ext cx="3823200" cy="29772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EB2EF7F-9324-4D4B-A1BF-484815D986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06B3B19-5004-46F2-9182-14C12B310C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374DD411-81C5-4603-B808-749A1C239570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7972EF5-9A3B-49A1-967A-27C8B73DEA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69373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2634">
          <p15:clr>
            <a:srgbClr val="FBAE40"/>
          </p15:clr>
        </p15:guide>
        <p15:guide id="3" pos="2526">
          <p15:clr>
            <a:srgbClr val="FBAE40"/>
          </p15:clr>
        </p15:guide>
        <p15:guide id="4" pos="5046">
          <p15:clr>
            <a:srgbClr val="FBAE40"/>
          </p15:clr>
        </p15:guide>
        <p15:guide id="5" pos="5157">
          <p15:clr>
            <a:srgbClr val="FBAE40"/>
          </p15:clr>
        </p15:guide>
        <p15:guide id="9" orient="horz" pos="2219">
          <p15:clr>
            <a:srgbClr val="FBAE40"/>
          </p15:clr>
        </p15:guide>
        <p15:guide id="10" orient="horz" pos="2333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5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4000" y="542925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84400" y="542925"/>
            <a:ext cx="3823200" cy="613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784A558-9456-4415-9BA2-08FE263444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9400" y="542925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84000" y="3703724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3964DBB-1C66-4A21-92C8-A4D9E6AB2A6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79400" y="3703724"/>
            <a:ext cx="38232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56539C1-C96B-42D7-A2AF-A41692CC42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44E3066-EB01-4F22-9F1F-105C178506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55410AF6-44BC-406B-8801-DFE9D5170784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A86747B-BDEC-470C-887F-962A575710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050956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2526">
          <p15:clr>
            <a:srgbClr val="FBAE40"/>
          </p15:clr>
        </p15:guide>
        <p15:guide id="3" pos="2634">
          <p15:clr>
            <a:srgbClr val="FBAE40"/>
          </p15:clr>
        </p15:guide>
        <p15:guide id="4" pos="5046">
          <p15:clr>
            <a:srgbClr val="FBAE40"/>
          </p15:clr>
        </p15:guide>
        <p15:guide id="5" pos="5154">
          <p15:clr>
            <a:srgbClr val="FBAE40"/>
          </p15:clr>
        </p15:guide>
        <p15:guide id="8" orient="horz" pos="2220">
          <p15:clr>
            <a:srgbClr val="FBAE40"/>
          </p15:clr>
        </p15:guide>
        <p15:guide id="9" orient="horz" pos="2328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026BB3C-7931-41F5-A43B-B582A0791D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81725" y="542925"/>
            <a:ext cx="5825475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80000" y="540000"/>
            <a:ext cx="5832474" cy="613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B342397-6143-4268-8097-86BBD2D4F3C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2400" y="3703724"/>
            <a:ext cx="5824800" cy="297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7B8610-96BF-44A1-8981-5B8168BF2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17CAAC6-B83C-4A9E-ACBC-601ED50C9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D18652A7-B0F6-428C-9C31-0A03897B9ECA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1A3038D-0D73-41B2-B289-D954169673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3569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orient="horz" pos="2220">
          <p15:clr>
            <a:srgbClr val="FBAE40"/>
          </p15:clr>
        </p15:guide>
        <p15:guide id="3" orient="horz" pos="2328">
          <p15:clr>
            <a:srgbClr val="FBAE40"/>
          </p15:clr>
        </p15:guide>
        <p15:guide id="5" pos="3786">
          <p15:clr>
            <a:srgbClr val="FBAE40"/>
          </p15:clr>
        </p15:guide>
        <p15:guide id="6" pos="389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gri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4E56308-06F6-4519-9D87-99E109C56F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79400" y="540000"/>
            <a:ext cx="5824800" cy="613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8F072AD8-6DAB-4FE3-8463-A9CB6100F72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89400" y="530225"/>
            <a:ext cx="5824800" cy="613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0AE5-9CCC-4EB2-B8D2-4AD89CD5CF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3464D53-8F88-47CD-A26E-22D07D11F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301334B-B605-4392-AC5F-7DA43D2F6916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24513CA-6205-41D3-93B8-757A847A2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346600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2" pos="3786">
          <p15:clr>
            <a:srgbClr val="FBAE40"/>
          </p15:clr>
        </p15:guide>
        <p15:guide id="3" pos="389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5175B383-099C-41CE-B5AA-384B4E10BD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0" y="3157537"/>
            <a:ext cx="2286000" cy="54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796646"/>
      </p:ext>
    </p:extLst>
  </p:cSld>
  <p:clrMapOvr>
    <a:masterClrMapping/>
  </p:clrMapOvr>
  <p:transition spd="slow">
    <p:push dir="u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EBEFB137-2B54-42AD-BDAD-96813FC80F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4184" y="3989025"/>
            <a:ext cx="675352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7" name="Rubrik 6">
            <a:extLst>
              <a:ext uri="{FF2B5EF4-FFF2-40B4-BE49-F238E27FC236}">
                <a16:creationId xmlns:a16="http://schemas.microsoft.com/office/drawing/2014/main" id="{B0B4E0FE-DC57-4515-B085-17792707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183" y="2385733"/>
            <a:ext cx="6753526" cy="1325563"/>
          </a:xfrm>
        </p:spPr>
        <p:txBody>
          <a:bodyPr/>
          <a:lstStyle>
            <a:lvl1pPr algn="l"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pic>
        <p:nvPicPr>
          <p:cNvPr id="4" name="Bildobjekt 3" descr="En bild som visar text, clipart&#10;&#10;Automatiskt genererad beskrivning">
            <a:extLst>
              <a:ext uri="{FF2B5EF4-FFF2-40B4-BE49-F238E27FC236}">
                <a16:creationId xmlns:a16="http://schemas.microsoft.com/office/drawing/2014/main" id="{A347D7B1-083D-49CC-A712-18CCC9C1E3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73" y="585050"/>
            <a:ext cx="2172312" cy="1107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45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with Imag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AC55784-3769-281C-808B-B56CFC4BA34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6161090" y="1292226"/>
            <a:ext cx="5835648" cy="5368924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bIns="684000" anchor="ctr" anchorCtr="0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7D03BF-BF52-0146-05B6-6A91E00D9B5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3676" y="1152525"/>
            <a:ext cx="5830887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437BF5-3DA6-A7E5-7B70-4C4A15DF1F1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6D667B-CF0E-92F4-586B-706246CEEC9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A0E120-60D7-0917-7052-11EDA87B89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099B62-5367-A494-B3BB-AF79701C79E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93676" y="2398712"/>
            <a:ext cx="5824538" cy="4262437"/>
          </a:xfrm>
        </p:spPr>
        <p:txBody>
          <a:bodyPr/>
          <a:lstStyle>
            <a:lvl1pPr marL="342000" indent="-342000">
              <a:lnSpc>
                <a:spcPct val="100000"/>
              </a:lnSpc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0141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9DC9A-405D-2BD5-A75B-0ACC7044B2B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189038" y="1164192"/>
            <a:ext cx="5830887" cy="2191783"/>
          </a:xfrm>
        </p:spPr>
        <p:txBody>
          <a:bodyPr anchor="t" anchorCtr="0">
            <a:noAutofit/>
          </a:bodyPr>
          <a:lstStyle>
            <a:lvl1pPr>
              <a:defRPr sz="4000" spc="-5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F7EE6A-B541-3D4F-34B1-8F4C8DE9966E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7161212" y="1152526"/>
            <a:ext cx="4835526" cy="2203450"/>
          </a:xfrm>
        </p:spPr>
        <p:txBody>
          <a:bodyPr tIns="93600"/>
          <a:lstStyle>
            <a:lvl1pPr marL="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C98940-A911-D289-ACE5-D7D7EA0734DD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F10A3D43-0687-422B-8801-76457B985CFF}" type="datetimeFigureOut">
              <a:rPr lang="en-GB" smtClean="0"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15A74A-B1B2-7DF6-2A75-5F00971361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GB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5D74F1-F37E-469E-EB95-54C2267ED7BB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CA008F64-74B1-4FA3-959F-F18C980B41FD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C5C29A2-5AB4-E01D-E895-1DC43038A8BA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193675" y="1152569"/>
            <a:ext cx="1180306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B6C91B6-A3B4-179E-37E3-44EDF1AB0CD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193675" y="1164192"/>
            <a:ext cx="852488" cy="1090057"/>
          </a:xfrm>
        </p:spPr>
        <p:txBody>
          <a:bodyPr/>
          <a:lstStyle>
            <a:lvl1pPr marL="0" indent="0">
              <a:buFontTx/>
              <a:buNone/>
              <a:defRPr sz="4000" spc="-50" baseline="0">
                <a:latin typeface="+mj-lt"/>
              </a:defRPr>
            </a:lvl1pPr>
            <a:lvl2pPr marL="180000" indent="0">
              <a:buFontTx/>
              <a:buNone/>
              <a:defRPr sz="4000">
                <a:latin typeface="+mj-lt"/>
              </a:defRPr>
            </a:lvl2pPr>
            <a:lvl3pPr marL="356400" indent="0">
              <a:buFontTx/>
              <a:buNone/>
              <a:defRPr sz="4000">
                <a:latin typeface="+mj-lt"/>
              </a:defRPr>
            </a:lvl3pPr>
            <a:lvl4pPr marL="356400" indent="0">
              <a:buFontTx/>
              <a:buNone/>
              <a:defRPr sz="4000">
                <a:latin typeface="+mj-lt"/>
              </a:defRPr>
            </a:lvl4pPr>
            <a:lvl5pPr marL="356400" indent="0">
              <a:buFontTx/>
              <a:buNone/>
              <a:defRPr sz="4000">
                <a:latin typeface="+mj-lt"/>
              </a:defRPr>
            </a:lvl5pPr>
          </a:lstStyle>
          <a:p>
            <a:pPr lvl="0"/>
            <a:r>
              <a:rPr lang="en-GB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135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61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tags" Target="../tags/tag625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image" Target="../media/image12.svg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70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412ED5-7C00-C074-7DAC-AF5A70E47A3E}"/>
              </a:ext>
            </a:extLst>
          </p:cNvPr>
          <p:cNvSpPr>
            <a:spLocks noGrp="1"/>
          </p:cNvSpPr>
          <p:nvPr>
            <p:ph type="title"/>
            <p:custDataLst>
              <p:tags r:id="rId62"/>
            </p:custDataLst>
          </p:nvPr>
        </p:nvSpPr>
        <p:spPr>
          <a:xfrm>
            <a:off x="193676" y="1152525"/>
            <a:ext cx="7821612" cy="1101725"/>
          </a:xfrm>
          <a:prstGeom prst="rect">
            <a:avLst/>
          </a:prstGeom>
        </p:spPr>
        <p:txBody>
          <a:bodyPr vert="horz" lIns="0" tIns="792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EE6AB-CE72-1410-1BF6-641F12FA62DD}"/>
              </a:ext>
            </a:extLst>
          </p:cNvPr>
          <p:cNvSpPr>
            <a:spLocks noGrp="1"/>
          </p:cNvSpPr>
          <p:nvPr>
            <p:ph type="body" idx="1"/>
            <p:custDataLst>
              <p:tags r:id="rId63"/>
            </p:custDataLst>
          </p:nvPr>
        </p:nvSpPr>
        <p:spPr>
          <a:xfrm>
            <a:off x="193676" y="2398713"/>
            <a:ext cx="10807700" cy="3306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333A99-0BB5-5144-E36B-09C9ED8685E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64"/>
            </p:custDataLst>
          </p:nvPr>
        </p:nvSpPr>
        <p:spPr>
          <a:xfrm>
            <a:off x="10148886" y="6661150"/>
            <a:ext cx="852488" cy="18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F10A3D43-0687-422B-8801-76457B985CFF}" type="datetimeFigureOut">
              <a:rPr lang="en-GB" smtClean="0"/>
              <a:pPr/>
              <a:t>19/09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26C413-5FE4-0AB9-E9B6-3EDDB5F7D85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5"/>
            </p:custDataLst>
          </p:nvPr>
        </p:nvSpPr>
        <p:spPr>
          <a:xfrm>
            <a:off x="6165850" y="6661150"/>
            <a:ext cx="3840160" cy="18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lang="en-GB" sz="600" dirty="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15DAF8-D6A8-CA84-8374-B26DB93099A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6"/>
            </p:custDataLst>
          </p:nvPr>
        </p:nvSpPr>
        <p:spPr>
          <a:xfrm>
            <a:off x="11144250" y="6661150"/>
            <a:ext cx="852488" cy="18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CA008F64-74B1-4FA3-959F-F18C980B41F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!!Logo">
            <a:extLst>
              <a:ext uri="{FF2B5EF4-FFF2-40B4-BE49-F238E27FC236}">
                <a16:creationId xmlns:a16="http://schemas.microsoft.com/office/drawing/2014/main" id="{687EC968-8469-EC5D-7515-52C7D4F8F945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black">
          <a:xfrm>
            <a:off x="193676" y="196850"/>
            <a:ext cx="854075" cy="200174"/>
          </a:xfrm>
          <a:custGeom>
            <a:avLst/>
            <a:gdLst>
              <a:gd name="connsiteX0" fmla="*/ 522177 w 812799"/>
              <a:gd name="connsiteY0" fmla="*/ 114300 h 190500"/>
              <a:gd name="connsiteX1" fmla="*/ 494397 w 812799"/>
              <a:gd name="connsiteY1" fmla="*/ 114300 h 190500"/>
              <a:gd name="connsiteX2" fmla="*/ 489385 w 812799"/>
              <a:gd name="connsiteY2" fmla="*/ 112207 h 190500"/>
              <a:gd name="connsiteX3" fmla="*/ 429336 w 812799"/>
              <a:gd name="connsiteY3" fmla="*/ 51689 h 190500"/>
              <a:gd name="connsiteX4" fmla="*/ 431007 w 812799"/>
              <a:gd name="connsiteY4" fmla="*/ 47624 h 190500"/>
              <a:gd name="connsiteX5" fmla="*/ 493823 w 812799"/>
              <a:gd name="connsiteY5" fmla="*/ 47624 h 190500"/>
              <a:gd name="connsiteX6" fmla="*/ 500912 w 812799"/>
              <a:gd name="connsiteY6" fmla="*/ 40480 h 190500"/>
              <a:gd name="connsiteX7" fmla="*/ 500912 w 812799"/>
              <a:gd name="connsiteY7" fmla="*/ 7144 h 190500"/>
              <a:gd name="connsiteX8" fmla="*/ 493823 w 812799"/>
              <a:gd name="connsiteY8" fmla="*/ 0 h 190500"/>
              <a:gd name="connsiteX9" fmla="*/ 437690 w 812799"/>
              <a:gd name="connsiteY9" fmla="*/ 0 h 190500"/>
              <a:gd name="connsiteX10" fmla="*/ 432678 w 812799"/>
              <a:gd name="connsiteY10" fmla="*/ 2093 h 190500"/>
              <a:gd name="connsiteX11" fmla="*/ 372630 w 812799"/>
              <a:gd name="connsiteY11" fmla="*/ 62611 h 190500"/>
              <a:gd name="connsiteX12" fmla="*/ 368596 w 812799"/>
              <a:gd name="connsiteY12" fmla="*/ 60927 h 190500"/>
              <a:gd name="connsiteX13" fmla="*/ 368596 w 812799"/>
              <a:gd name="connsiteY13" fmla="*/ 7144 h 190500"/>
              <a:gd name="connsiteX14" fmla="*/ 361508 w 812799"/>
              <a:gd name="connsiteY14" fmla="*/ 0 h 190500"/>
              <a:gd name="connsiteX15" fmla="*/ 290624 w 812799"/>
              <a:gd name="connsiteY15" fmla="*/ 0 h 190500"/>
              <a:gd name="connsiteX16" fmla="*/ 283536 w 812799"/>
              <a:gd name="connsiteY16" fmla="*/ 7144 h 190500"/>
              <a:gd name="connsiteX17" fmla="*/ 283536 w 812799"/>
              <a:gd name="connsiteY17" fmla="*/ 40481 h 190500"/>
              <a:gd name="connsiteX18" fmla="*/ 290624 w 812799"/>
              <a:gd name="connsiteY18" fmla="*/ 47625 h 190500"/>
              <a:gd name="connsiteX19" fmla="*/ 300075 w 812799"/>
              <a:gd name="connsiteY19" fmla="*/ 47625 h 190500"/>
              <a:gd name="connsiteX20" fmla="*/ 302438 w 812799"/>
              <a:gd name="connsiteY20" fmla="*/ 50006 h 190500"/>
              <a:gd name="connsiteX21" fmla="*/ 302438 w 812799"/>
              <a:gd name="connsiteY21" fmla="*/ 111919 h 190500"/>
              <a:gd name="connsiteX22" fmla="*/ 300075 w 812799"/>
              <a:gd name="connsiteY22" fmla="*/ 114300 h 190500"/>
              <a:gd name="connsiteX23" fmla="*/ 290624 w 812799"/>
              <a:gd name="connsiteY23" fmla="*/ 114300 h 190500"/>
              <a:gd name="connsiteX24" fmla="*/ 283536 w 812799"/>
              <a:gd name="connsiteY24" fmla="*/ 121444 h 190500"/>
              <a:gd name="connsiteX25" fmla="*/ 283536 w 812799"/>
              <a:gd name="connsiteY25" fmla="*/ 183356 h 190500"/>
              <a:gd name="connsiteX26" fmla="*/ 290624 w 812799"/>
              <a:gd name="connsiteY26" fmla="*/ 190500 h 190500"/>
              <a:gd name="connsiteX27" fmla="*/ 361508 w 812799"/>
              <a:gd name="connsiteY27" fmla="*/ 190500 h 190500"/>
              <a:gd name="connsiteX28" fmla="*/ 368596 w 812799"/>
              <a:gd name="connsiteY28" fmla="*/ 183356 h 190500"/>
              <a:gd name="connsiteX29" fmla="*/ 368596 w 812799"/>
              <a:gd name="connsiteY29" fmla="*/ 110523 h 190500"/>
              <a:gd name="connsiteX30" fmla="*/ 372630 w 812799"/>
              <a:gd name="connsiteY30" fmla="*/ 108839 h 190500"/>
              <a:gd name="connsiteX31" fmla="*/ 451580 w 812799"/>
              <a:gd name="connsiteY31" fmla="*/ 188407 h 190500"/>
              <a:gd name="connsiteX32" fmla="*/ 456592 w 812799"/>
              <a:gd name="connsiteY32" fmla="*/ 190500 h 190500"/>
              <a:gd name="connsiteX33" fmla="*/ 522177 w 812799"/>
              <a:gd name="connsiteY33" fmla="*/ 190500 h 190500"/>
              <a:gd name="connsiteX34" fmla="*/ 529265 w 812799"/>
              <a:gd name="connsiteY34" fmla="*/ 183356 h 190500"/>
              <a:gd name="connsiteX35" fmla="*/ 529265 w 812799"/>
              <a:gd name="connsiteY35" fmla="*/ 121444 h 190500"/>
              <a:gd name="connsiteX36" fmla="*/ 522177 w 812799"/>
              <a:gd name="connsiteY36" fmla="*/ 114300 h 190500"/>
              <a:gd name="connsiteX37" fmla="*/ 238642 w 812799"/>
              <a:gd name="connsiteY37" fmla="*/ 66675 h 190500"/>
              <a:gd name="connsiteX38" fmla="*/ 96874 w 812799"/>
              <a:gd name="connsiteY38" fmla="*/ 66675 h 190500"/>
              <a:gd name="connsiteX39" fmla="*/ 94512 w 812799"/>
              <a:gd name="connsiteY39" fmla="*/ 64294 h 190500"/>
              <a:gd name="connsiteX40" fmla="*/ 94512 w 812799"/>
              <a:gd name="connsiteY40" fmla="*/ 30956 h 190500"/>
              <a:gd name="connsiteX41" fmla="*/ 96874 w 812799"/>
              <a:gd name="connsiteY41" fmla="*/ 28575 h 190500"/>
              <a:gd name="connsiteX42" fmla="*/ 148856 w 812799"/>
              <a:gd name="connsiteY42" fmla="*/ 28575 h 190500"/>
              <a:gd name="connsiteX43" fmla="*/ 151219 w 812799"/>
              <a:gd name="connsiteY43" fmla="*/ 30955 h 190500"/>
              <a:gd name="connsiteX44" fmla="*/ 151219 w 812799"/>
              <a:gd name="connsiteY44" fmla="*/ 40481 h 190500"/>
              <a:gd name="connsiteX45" fmla="*/ 158307 w 812799"/>
              <a:gd name="connsiteY45" fmla="*/ 47625 h 190500"/>
              <a:gd name="connsiteX46" fmla="*/ 210288 w 812799"/>
              <a:gd name="connsiteY46" fmla="*/ 47625 h 190500"/>
              <a:gd name="connsiteX47" fmla="*/ 217377 w 812799"/>
              <a:gd name="connsiteY47" fmla="*/ 40481 h 190500"/>
              <a:gd name="connsiteX48" fmla="*/ 217377 w 812799"/>
              <a:gd name="connsiteY48" fmla="*/ 7144 h 190500"/>
              <a:gd name="connsiteX49" fmla="*/ 210288 w 812799"/>
              <a:gd name="connsiteY49" fmla="*/ 0 h 190500"/>
              <a:gd name="connsiteX50" fmla="*/ 35442 w 812799"/>
              <a:gd name="connsiteY50" fmla="*/ 0 h 190500"/>
              <a:gd name="connsiteX51" fmla="*/ 28353 w 812799"/>
              <a:gd name="connsiteY51" fmla="*/ 7144 h 190500"/>
              <a:gd name="connsiteX52" fmla="*/ 28353 w 812799"/>
              <a:gd name="connsiteY52" fmla="*/ 88106 h 190500"/>
              <a:gd name="connsiteX53" fmla="*/ 35442 w 812799"/>
              <a:gd name="connsiteY53" fmla="*/ 95250 h 190500"/>
              <a:gd name="connsiteX54" fmla="*/ 158307 w 812799"/>
              <a:gd name="connsiteY54" fmla="*/ 95250 h 190500"/>
              <a:gd name="connsiteX55" fmla="*/ 160670 w 812799"/>
              <a:gd name="connsiteY55" fmla="*/ 97631 h 190500"/>
              <a:gd name="connsiteX56" fmla="*/ 160670 w 812799"/>
              <a:gd name="connsiteY56" fmla="*/ 159544 h 190500"/>
              <a:gd name="connsiteX57" fmla="*/ 158307 w 812799"/>
              <a:gd name="connsiteY57" fmla="*/ 161925 h 190500"/>
              <a:gd name="connsiteX58" fmla="*/ 87423 w 812799"/>
              <a:gd name="connsiteY58" fmla="*/ 161925 h 190500"/>
              <a:gd name="connsiteX59" fmla="*/ 85060 w 812799"/>
              <a:gd name="connsiteY59" fmla="*/ 159544 h 190500"/>
              <a:gd name="connsiteX60" fmla="*/ 85060 w 812799"/>
              <a:gd name="connsiteY60" fmla="*/ 121444 h 190500"/>
              <a:gd name="connsiteX61" fmla="*/ 77972 w 812799"/>
              <a:gd name="connsiteY61" fmla="*/ 114300 h 190500"/>
              <a:gd name="connsiteX62" fmla="*/ 7088 w 812799"/>
              <a:gd name="connsiteY62" fmla="*/ 114300 h 190500"/>
              <a:gd name="connsiteX63" fmla="*/ 0 w 812799"/>
              <a:gd name="connsiteY63" fmla="*/ 121444 h 190500"/>
              <a:gd name="connsiteX64" fmla="*/ 0 w 812799"/>
              <a:gd name="connsiteY64" fmla="*/ 183356 h 190500"/>
              <a:gd name="connsiteX65" fmla="*/ 7088 w 812799"/>
              <a:gd name="connsiteY65" fmla="*/ 190500 h 190500"/>
              <a:gd name="connsiteX66" fmla="*/ 238642 w 812799"/>
              <a:gd name="connsiteY66" fmla="*/ 190500 h 190500"/>
              <a:gd name="connsiteX67" fmla="*/ 245730 w 812799"/>
              <a:gd name="connsiteY67" fmla="*/ 183356 h 190500"/>
              <a:gd name="connsiteX68" fmla="*/ 245730 w 812799"/>
              <a:gd name="connsiteY68" fmla="*/ 73819 h 190500"/>
              <a:gd name="connsiteX69" fmla="*/ 238642 w 812799"/>
              <a:gd name="connsiteY69" fmla="*/ 66675 h 190500"/>
              <a:gd name="connsiteX70" fmla="*/ 805712 w 812799"/>
              <a:gd name="connsiteY70" fmla="*/ 0 h 190500"/>
              <a:gd name="connsiteX71" fmla="*/ 574158 w 812799"/>
              <a:gd name="connsiteY71" fmla="*/ 0 h 190500"/>
              <a:gd name="connsiteX72" fmla="*/ 567070 w 812799"/>
              <a:gd name="connsiteY72" fmla="*/ 7144 h 190500"/>
              <a:gd name="connsiteX73" fmla="*/ 567070 w 812799"/>
              <a:gd name="connsiteY73" fmla="*/ 40481 h 190500"/>
              <a:gd name="connsiteX74" fmla="*/ 574158 w 812799"/>
              <a:gd name="connsiteY74" fmla="*/ 47625 h 190500"/>
              <a:gd name="connsiteX75" fmla="*/ 583609 w 812799"/>
              <a:gd name="connsiteY75" fmla="*/ 47625 h 190500"/>
              <a:gd name="connsiteX76" fmla="*/ 585972 w 812799"/>
              <a:gd name="connsiteY76" fmla="*/ 50006 h 190500"/>
              <a:gd name="connsiteX77" fmla="*/ 585972 w 812799"/>
              <a:gd name="connsiteY77" fmla="*/ 111919 h 190500"/>
              <a:gd name="connsiteX78" fmla="*/ 583609 w 812799"/>
              <a:gd name="connsiteY78" fmla="*/ 114300 h 190500"/>
              <a:gd name="connsiteX79" fmla="*/ 574158 w 812799"/>
              <a:gd name="connsiteY79" fmla="*/ 114300 h 190500"/>
              <a:gd name="connsiteX80" fmla="*/ 567070 w 812799"/>
              <a:gd name="connsiteY80" fmla="*/ 121444 h 190500"/>
              <a:gd name="connsiteX81" fmla="*/ 567070 w 812799"/>
              <a:gd name="connsiteY81" fmla="*/ 183356 h 190500"/>
              <a:gd name="connsiteX82" fmla="*/ 574158 w 812799"/>
              <a:gd name="connsiteY82" fmla="*/ 190500 h 190500"/>
              <a:gd name="connsiteX83" fmla="*/ 663944 w 812799"/>
              <a:gd name="connsiteY83" fmla="*/ 190500 h 190500"/>
              <a:gd name="connsiteX84" fmla="*/ 671033 w 812799"/>
              <a:gd name="connsiteY84" fmla="*/ 183356 h 190500"/>
              <a:gd name="connsiteX85" fmla="*/ 671033 w 812799"/>
              <a:gd name="connsiteY85" fmla="*/ 121444 h 190500"/>
              <a:gd name="connsiteX86" fmla="*/ 663944 w 812799"/>
              <a:gd name="connsiteY86" fmla="*/ 114300 h 190500"/>
              <a:gd name="connsiteX87" fmla="*/ 654493 w 812799"/>
              <a:gd name="connsiteY87" fmla="*/ 114300 h 190500"/>
              <a:gd name="connsiteX88" fmla="*/ 652130 w 812799"/>
              <a:gd name="connsiteY88" fmla="*/ 111919 h 190500"/>
              <a:gd name="connsiteX89" fmla="*/ 652130 w 812799"/>
              <a:gd name="connsiteY89" fmla="*/ 97631 h 190500"/>
              <a:gd name="connsiteX90" fmla="*/ 654493 w 812799"/>
              <a:gd name="connsiteY90" fmla="*/ 95250 h 190500"/>
              <a:gd name="connsiteX91" fmla="*/ 678121 w 812799"/>
              <a:gd name="connsiteY91" fmla="*/ 95250 h 190500"/>
              <a:gd name="connsiteX92" fmla="*/ 680484 w 812799"/>
              <a:gd name="connsiteY92" fmla="*/ 97577 h 190500"/>
              <a:gd name="connsiteX93" fmla="*/ 687572 w 812799"/>
              <a:gd name="connsiteY93" fmla="*/ 104775 h 190500"/>
              <a:gd name="connsiteX94" fmla="*/ 739554 w 812799"/>
              <a:gd name="connsiteY94" fmla="*/ 104775 h 190500"/>
              <a:gd name="connsiteX95" fmla="*/ 746642 w 812799"/>
              <a:gd name="connsiteY95" fmla="*/ 97631 h 190500"/>
              <a:gd name="connsiteX96" fmla="*/ 746642 w 812799"/>
              <a:gd name="connsiteY96" fmla="*/ 64294 h 190500"/>
              <a:gd name="connsiteX97" fmla="*/ 739554 w 812799"/>
              <a:gd name="connsiteY97" fmla="*/ 57150 h 190500"/>
              <a:gd name="connsiteX98" fmla="*/ 687572 w 812799"/>
              <a:gd name="connsiteY98" fmla="*/ 57150 h 190500"/>
              <a:gd name="connsiteX99" fmla="*/ 680484 w 812799"/>
              <a:gd name="connsiteY99" fmla="*/ 64348 h 190500"/>
              <a:gd name="connsiteX100" fmla="*/ 678121 w 812799"/>
              <a:gd name="connsiteY100" fmla="*/ 66675 h 190500"/>
              <a:gd name="connsiteX101" fmla="*/ 654493 w 812799"/>
              <a:gd name="connsiteY101" fmla="*/ 66675 h 190500"/>
              <a:gd name="connsiteX102" fmla="*/ 652130 w 812799"/>
              <a:gd name="connsiteY102" fmla="*/ 64294 h 190500"/>
              <a:gd name="connsiteX103" fmla="*/ 652130 w 812799"/>
              <a:gd name="connsiteY103" fmla="*/ 30956 h 190500"/>
              <a:gd name="connsiteX104" fmla="*/ 654493 w 812799"/>
              <a:gd name="connsiteY104" fmla="*/ 28575 h 190500"/>
              <a:gd name="connsiteX105" fmla="*/ 725377 w 812799"/>
              <a:gd name="connsiteY105" fmla="*/ 28575 h 190500"/>
              <a:gd name="connsiteX106" fmla="*/ 727740 w 812799"/>
              <a:gd name="connsiteY106" fmla="*/ 30956 h 190500"/>
              <a:gd name="connsiteX107" fmla="*/ 727740 w 812799"/>
              <a:gd name="connsiteY107" fmla="*/ 40481 h 190500"/>
              <a:gd name="connsiteX108" fmla="*/ 734828 w 812799"/>
              <a:gd name="connsiteY108" fmla="*/ 47625 h 190500"/>
              <a:gd name="connsiteX109" fmla="*/ 805712 w 812799"/>
              <a:gd name="connsiteY109" fmla="*/ 47625 h 190500"/>
              <a:gd name="connsiteX110" fmla="*/ 812800 w 812799"/>
              <a:gd name="connsiteY110" fmla="*/ 40481 h 190500"/>
              <a:gd name="connsiteX111" fmla="*/ 812800 w 812799"/>
              <a:gd name="connsiteY111" fmla="*/ 7144 h 190500"/>
              <a:gd name="connsiteX112" fmla="*/ 805712 w 812799"/>
              <a:gd name="connsiteY11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812799" h="190500">
                <a:moveTo>
                  <a:pt x="522177" y="114300"/>
                </a:moveTo>
                <a:lnTo>
                  <a:pt x="494397" y="114300"/>
                </a:lnTo>
                <a:cubicBezTo>
                  <a:pt x="492517" y="114300"/>
                  <a:pt x="490714" y="113548"/>
                  <a:pt x="489385" y="112207"/>
                </a:cubicBezTo>
                <a:lnTo>
                  <a:pt x="429336" y="51689"/>
                </a:lnTo>
                <a:cubicBezTo>
                  <a:pt x="427848" y="50189"/>
                  <a:pt x="428901" y="47624"/>
                  <a:pt x="431007" y="47624"/>
                </a:cubicBezTo>
                <a:lnTo>
                  <a:pt x="493823" y="47624"/>
                </a:lnTo>
                <a:cubicBezTo>
                  <a:pt x="497738" y="47624"/>
                  <a:pt x="500912" y="44426"/>
                  <a:pt x="500912" y="40480"/>
                </a:cubicBezTo>
                <a:lnTo>
                  <a:pt x="500912" y="7144"/>
                </a:lnTo>
                <a:cubicBezTo>
                  <a:pt x="500912" y="3198"/>
                  <a:pt x="497738" y="0"/>
                  <a:pt x="493823" y="0"/>
                </a:cubicBezTo>
                <a:lnTo>
                  <a:pt x="437690" y="0"/>
                </a:lnTo>
                <a:cubicBezTo>
                  <a:pt x="435810" y="0"/>
                  <a:pt x="434007" y="752"/>
                  <a:pt x="432678" y="2093"/>
                </a:cubicBezTo>
                <a:lnTo>
                  <a:pt x="372630" y="62611"/>
                </a:lnTo>
                <a:cubicBezTo>
                  <a:pt x="371142" y="64111"/>
                  <a:pt x="368596" y="63049"/>
                  <a:pt x="368596" y="60927"/>
                </a:cubicBezTo>
                <a:lnTo>
                  <a:pt x="368596" y="7144"/>
                </a:lnTo>
                <a:cubicBezTo>
                  <a:pt x="368596" y="3198"/>
                  <a:pt x="365423" y="0"/>
                  <a:pt x="361508" y="0"/>
                </a:cubicBezTo>
                <a:lnTo>
                  <a:pt x="290624" y="0"/>
                </a:lnTo>
                <a:cubicBezTo>
                  <a:pt x="286710" y="0"/>
                  <a:pt x="283536" y="3198"/>
                  <a:pt x="283536" y="7144"/>
                </a:cubicBezTo>
                <a:lnTo>
                  <a:pt x="283536" y="40481"/>
                </a:lnTo>
                <a:cubicBezTo>
                  <a:pt x="283536" y="44427"/>
                  <a:pt x="286710" y="47625"/>
                  <a:pt x="290624" y="47625"/>
                </a:cubicBezTo>
                <a:lnTo>
                  <a:pt x="300075" y="47625"/>
                </a:lnTo>
                <a:cubicBezTo>
                  <a:pt x="301381" y="47625"/>
                  <a:pt x="302438" y="48691"/>
                  <a:pt x="302438" y="50006"/>
                </a:cubicBezTo>
                <a:lnTo>
                  <a:pt x="302438" y="111919"/>
                </a:lnTo>
                <a:cubicBezTo>
                  <a:pt x="302438" y="113234"/>
                  <a:pt x="301381" y="114300"/>
                  <a:pt x="300075" y="114300"/>
                </a:cubicBezTo>
                <a:lnTo>
                  <a:pt x="290624" y="114300"/>
                </a:lnTo>
                <a:cubicBezTo>
                  <a:pt x="286710" y="114300"/>
                  <a:pt x="283536" y="117499"/>
                  <a:pt x="283536" y="121444"/>
                </a:cubicBezTo>
                <a:lnTo>
                  <a:pt x="283536" y="183356"/>
                </a:lnTo>
                <a:cubicBezTo>
                  <a:pt x="283536" y="187302"/>
                  <a:pt x="286710" y="190499"/>
                  <a:pt x="290624" y="190500"/>
                </a:cubicBezTo>
                <a:lnTo>
                  <a:pt x="361508" y="190500"/>
                </a:lnTo>
                <a:cubicBezTo>
                  <a:pt x="365423" y="190500"/>
                  <a:pt x="368596" y="187302"/>
                  <a:pt x="368596" y="183356"/>
                </a:cubicBezTo>
                <a:lnTo>
                  <a:pt x="368596" y="110523"/>
                </a:lnTo>
                <a:cubicBezTo>
                  <a:pt x="368596" y="108402"/>
                  <a:pt x="371142" y="107339"/>
                  <a:pt x="372630" y="108839"/>
                </a:cubicBezTo>
                <a:lnTo>
                  <a:pt x="451580" y="188407"/>
                </a:lnTo>
                <a:cubicBezTo>
                  <a:pt x="452909" y="189747"/>
                  <a:pt x="454712" y="190500"/>
                  <a:pt x="456592" y="190500"/>
                </a:cubicBezTo>
                <a:lnTo>
                  <a:pt x="522177" y="190500"/>
                </a:lnTo>
                <a:cubicBezTo>
                  <a:pt x="526091" y="190500"/>
                  <a:pt x="529265" y="187302"/>
                  <a:pt x="529265" y="183356"/>
                </a:cubicBezTo>
                <a:lnTo>
                  <a:pt x="529265" y="121444"/>
                </a:lnTo>
                <a:cubicBezTo>
                  <a:pt x="529265" y="117499"/>
                  <a:pt x="526091" y="114300"/>
                  <a:pt x="522177" y="114300"/>
                </a:cubicBezTo>
                <a:close/>
                <a:moveTo>
                  <a:pt x="238642" y="66675"/>
                </a:moveTo>
                <a:lnTo>
                  <a:pt x="96874" y="66675"/>
                </a:lnTo>
                <a:cubicBezTo>
                  <a:pt x="95569" y="66675"/>
                  <a:pt x="94512" y="65609"/>
                  <a:pt x="94512" y="64294"/>
                </a:cubicBezTo>
                <a:lnTo>
                  <a:pt x="94512" y="30956"/>
                </a:lnTo>
                <a:cubicBezTo>
                  <a:pt x="94512" y="29641"/>
                  <a:pt x="95569" y="28575"/>
                  <a:pt x="96874" y="28575"/>
                </a:cubicBezTo>
                <a:lnTo>
                  <a:pt x="148856" y="28575"/>
                </a:lnTo>
                <a:cubicBezTo>
                  <a:pt x="150161" y="28574"/>
                  <a:pt x="151219" y="29640"/>
                  <a:pt x="151219" y="30955"/>
                </a:cubicBezTo>
                <a:lnTo>
                  <a:pt x="151219" y="40481"/>
                </a:lnTo>
                <a:cubicBezTo>
                  <a:pt x="151219" y="44427"/>
                  <a:pt x="154392" y="47625"/>
                  <a:pt x="158307" y="47625"/>
                </a:cubicBezTo>
                <a:lnTo>
                  <a:pt x="210288" y="47625"/>
                </a:lnTo>
                <a:cubicBezTo>
                  <a:pt x="214203" y="47625"/>
                  <a:pt x="217377" y="44427"/>
                  <a:pt x="217377" y="40481"/>
                </a:cubicBezTo>
                <a:lnTo>
                  <a:pt x="217377" y="7144"/>
                </a:lnTo>
                <a:cubicBezTo>
                  <a:pt x="217377" y="3198"/>
                  <a:pt x="214203" y="0"/>
                  <a:pt x="210288" y="0"/>
                </a:cubicBezTo>
                <a:lnTo>
                  <a:pt x="35442" y="0"/>
                </a:lnTo>
                <a:cubicBezTo>
                  <a:pt x="31527" y="0"/>
                  <a:pt x="28353" y="3198"/>
                  <a:pt x="28353" y="7144"/>
                </a:cubicBezTo>
                <a:lnTo>
                  <a:pt x="28353" y="88106"/>
                </a:lnTo>
                <a:cubicBezTo>
                  <a:pt x="28353" y="92052"/>
                  <a:pt x="31527" y="95250"/>
                  <a:pt x="35442" y="95250"/>
                </a:cubicBezTo>
                <a:lnTo>
                  <a:pt x="158307" y="95250"/>
                </a:lnTo>
                <a:cubicBezTo>
                  <a:pt x="159612" y="95250"/>
                  <a:pt x="160670" y="96316"/>
                  <a:pt x="160670" y="97631"/>
                </a:cubicBezTo>
                <a:lnTo>
                  <a:pt x="160670" y="159544"/>
                </a:lnTo>
                <a:cubicBezTo>
                  <a:pt x="160670" y="160859"/>
                  <a:pt x="159612" y="161925"/>
                  <a:pt x="158307" y="161925"/>
                </a:cubicBezTo>
                <a:lnTo>
                  <a:pt x="87423" y="161925"/>
                </a:lnTo>
                <a:cubicBezTo>
                  <a:pt x="86118" y="161925"/>
                  <a:pt x="85060" y="160859"/>
                  <a:pt x="85060" y="159544"/>
                </a:cubicBezTo>
                <a:lnTo>
                  <a:pt x="85060" y="121444"/>
                </a:lnTo>
                <a:cubicBezTo>
                  <a:pt x="85060" y="117499"/>
                  <a:pt x="81887" y="114300"/>
                  <a:pt x="77972" y="114300"/>
                </a:cubicBezTo>
                <a:lnTo>
                  <a:pt x="7088" y="114300"/>
                </a:lnTo>
                <a:cubicBezTo>
                  <a:pt x="3174" y="114300"/>
                  <a:pt x="0" y="117499"/>
                  <a:pt x="0" y="121444"/>
                </a:cubicBezTo>
                <a:lnTo>
                  <a:pt x="0" y="183356"/>
                </a:lnTo>
                <a:cubicBezTo>
                  <a:pt x="0" y="187302"/>
                  <a:pt x="3174" y="190500"/>
                  <a:pt x="7088" y="190500"/>
                </a:cubicBezTo>
                <a:lnTo>
                  <a:pt x="238642" y="190500"/>
                </a:lnTo>
                <a:cubicBezTo>
                  <a:pt x="242557" y="190500"/>
                  <a:pt x="245730" y="187302"/>
                  <a:pt x="245730" y="183356"/>
                </a:cubicBezTo>
                <a:lnTo>
                  <a:pt x="245730" y="73819"/>
                </a:lnTo>
                <a:cubicBezTo>
                  <a:pt x="245730" y="69874"/>
                  <a:pt x="242557" y="66675"/>
                  <a:pt x="238642" y="66675"/>
                </a:cubicBezTo>
                <a:close/>
                <a:moveTo>
                  <a:pt x="805712" y="0"/>
                </a:moveTo>
                <a:lnTo>
                  <a:pt x="574158" y="0"/>
                </a:lnTo>
                <a:cubicBezTo>
                  <a:pt x="570244" y="0"/>
                  <a:pt x="567070" y="3198"/>
                  <a:pt x="567070" y="7144"/>
                </a:cubicBezTo>
                <a:lnTo>
                  <a:pt x="567070" y="40481"/>
                </a:lnTo>
                <a:cubicBezTo>
                  <a:pt x="567070" y="44427"/>
                  <a:pt x="570244" y="47625"/>
                  <a:pt x="574158" y="47625"/>
                </a:cubicBezTo>
                <a:lnTo>
                  <a:pt x="583609" y="47625"/>
                </a:lnTo>
                <a:cubicBezTo>
                  <a:pt x="584915" y="47625"/>
                  <a:pt x="585972" y="48691"/>
                  <a:pt x="585972" y="50006"/>
                </a:cubicBezTo>
                <a:lnTo>
                  <a:pt x="585972" y="111919"/>
                </a:lnTo>
                <a:cubicBezTo>
                  <a:pt x="585972" y="113234"/>
                  <a:pt x="584915" y="114300"/>
                  <a:pt x="583609" y="114300"/>
                </a:cubicBezTo>
                <a:lnTo>
                  <a:pt x="574158" y="114300"/>
                </a:lnTo>
                <a:cubicBezTo>
                  <a:pt x="570244" y="114300"/>
                  <a:pt x="567070" y="117499"/>
                  <a:pt x="567070" y="121444"/>
                </a:cubicBezTo>
                <a:lnTo>
                  <a:pt x="567070" y="183356"/>
                </a:lnTo>
                <a:cubicBezTo>
                  <a:pt x="567070" y="187302"/>
                  <a:pt x="570244" y="190500"/>
                  <a:pt x="574158" y="190500"/>
                </a:cubicBezTo>
                <a:lnTo>
                  <a:pt x="663944" y="190500"/>
                </a:lnTo>
                <a:cubicBezTo>
                  <a:pt x="667859" y="190500"/>
                  <a:pt x="671033" y="187302"/>
                  <a:pt x="671033" y="183356"/>
                </a:cubicBezTo>
                <a:lnTo>
                  <a:pt x="671033" y="121444"/>
                </a:lnTo>
                <a:cubicBezTo>
                  <a:pt x="671033" y="117499"/>
                  <a:pt x="667859" y="114300"/>
                  <a:pt x="663944" y="114300"/>
                </a:cubicBezTo>
                <a:lnTo>
                  <a:pt x="654493" y="114300"/>
                </a:lnTo>
                <a:cubicBezTo>
                  <a:pt x="653188" y="114300"/>
                  <a:pt x="652130" y="113234"/>
                  <a:pt x="652130" y="111919"/>
                </a:cubicBezTo>
                <a:lnTo>
                  <a:pt x="652130" y="97631"/>
                </a:lnTo>
                <a:cubicBezTo>
                  <a:pt x="652130" y="96316"/>
                  <a:pt x="653188" y="95250"/>
                  <a:pt x="654493" y="95250"/>
                </a:cubicBezTo>
                <a:lnTo>
                  <a:pt x="678121" y="95250"/>
                </a:lnTo>
                <a:cubicBezTo>
                  <a:pt x="679408" y="95250"/>
                  <a:pt x="680493" y="96280"/>
                  <a:pt x="680484" y="97577"/>
                </a:cubicBezTo>
                <a:cubicBezTo>
                  <a:pt x="680454" y="101546"/>
                  <a:pt x="683639" y="104775"/>
                  <a:pt x="687572" y="104775"/>
                </a:cubicBezTo>
                <a:lnTo>
                  <a:pt x="739554" y="104775"/>
                </a:lnTo>
                <a:cubicBezTo>
                  <a:pt x="743468" y="104775"/>
                  <a:pt x="746642" y="101577"/>
                  <a:pt x="746642" y="97631"/>
                </a:cubicBezTo>
                <a:lnTo>
                  <a:pt x="746642" y="64294"/>
                </a:lnTo>
                <a:cubicBezTo>
                  <a:pt x="746642" y="60348"/>
                  <a:pt x="743468" y="57150"/>
                  <a:pt x="739554" y="57150"/>
                </a:cubicBezTo>
                <a:lnTo>
                  <a:pt x="687572" y="57150"/>
                </a:lnTo>
                <a:cubicBezTo>
                  <a:pt x="683639" y="57150"/>
                  <a:pt x="680454" y="60378"/>
                  <a:pt x="680484" y="64348"/>
                </a:cubicBezTo>
                <a:cubicBezTo>
                  <a:pt x="680493" y="65645"/>
                  <a:pt x="679408" y="66675"/>
                  <a:pt x="678121" y="66675"/>
                </a:cubicBezTo>
                <a:lnTo>
                  <a:pt x="654493" y="66675"/>
                </a:lnTo>
                <a:cubicBezTo>
                  <a:pt x="653188" y="66675"/>
                  <a:pt x="652130" y="65609"/>
                  <a:pt x="652130" y="64294"/>
                </a:cubicBezTo>
                <a:lnTo>
                  <a:pt x="652130" y="30956"/>
                </a:lnTo>
                <a:cubicBezTo>
                  <a:pt x="652130" y="29641"/>
                  <a:pt x="653188" y="28575"/>
                  <a:pt x="654493" y="28575"/>
                </a:cubicBezTo>
                <a:lnTo>
                  <a:pt x="725377" y="28575"/>
                </a:lnTo>
                <a:cubicBezTo>
                  <a:pt x="726682" y="28575"/>
                  <a:pt x="727740" y="29641"/>
                  <a:pt x="727740" y="30956"/>
                </a:cubicBezTo>
                <a:lnTo>
                  <a:pt x="727740" y="40481"/>
                </a:lnTo>
                <a:cubicBezTo>
                  <a:pt x="727740" y="44427"/>
                  <a:pt x="730913" y="47625"/>
                  <a:pt x="734828" y="47625"/>
                </a:cubicBezTo>
                <a:lnTo>
                  <a:pt x="805712" y="47625"/>
                </a:lnTo>
                <a:cubicBezTo>
                  <a:pt x="809626" y="47625"/>
                  <a:pt x="812800" y="44427"/>
                  <a:pt x="812800" y="40481"/>
                </a:cubicBezTo>
                <a:lnTo>
                  <a:pt x="812800" y="7144"/>
                </a:lnTo>
                <a:cubicBezTo>
                  <a:pt x="812800" y="3198"/>
                  <a:pt x="809626" y="0"/>
                  <a:pt x="80571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7DB8A3-B005-9CB8-5F76-170A40729A2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7383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1000">
                <a:solidFill>
                  <a:srgbClr val="0000FE">
                    <a:alpha val="50000"/>
                  </a:srgbClr>
                </a:solidFill>
                <a:latin typeface="SKF Sans Office" pitchFamily="2" charset="0"/>
              </a:rPr>
              <a:t>Confidentiality: C2 – Internal </a:t>
            </a:r>
          </a:p>
        </p:txBody>
      </p:sp>
    </p:spTree>
    <p:extLst>
      <p:ext uri="{BB962C8B-B14F-4D97-AF65-F5344CB8AC3E}">
        <p14:creationId xmlns:p14="http://schemas.microsoft.com/office/powerpoint/2010/main" val="2657034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63" r:id="rId2"/>
    <p:sldLayoutId id="2147483649" r:id="rId3"/>
    <p:sldLayoutId id="2147483660" r:id="rId4"/>
    <p:sldLayoutId id="2147483661" r:id="rId5"/>
    <p:sldLayoutId id="2147483664" r:id="rId6"/>
    <p:sldLayoutId id="2147483665" r:id="rId7"/>
    <p:sldLayoutId id="2147483666" r:id="rId8"/>
    <p:sldLayoutId id="2147483651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75" r:id="rId18"/>
    <p:sldLayoutId id="2147483676" r:id="rId19"/>
    <p:sldLayoutId id="2147483677" r:id="rId20"/>
    <p:sldLayoutId id="2147483678" r:id="rId21"/>
    <p:sldLayoutId id="2147483679" r:id="rId22"/>
    <p:sldLayoutId id="2147483680" r:id="rId23"/>
    <p:sldLayoutId id="2147483681" r:id="rId24"/>
    <p:sldLayoutId id="2147483682" r:id="rId25"/>
    <p:sldLayoutId id="2147483683" r:id="rId26"/>
    <p:sldLayoutId id="2147483684" r:id="rId27"/>
    <p:sldLayoutId id="2147483685" r:id="rId28"/>
    <p:sldLayoutId id="2147483686" r:id="rId29"/>
    <p:sldLayoutId id="2147483687" r:id="rId30"/>
    <p:sldLayoutId id="2147483688" r:id="rId31"/>
    <p:sldLayoutId id="2147483689" r:id="rId32"/>
    <p:sldLayoutId id="2147483690" r:id="rId33"/>
    <p:sldLayoutId id="2147483691" r:id="rId34"/>
    <p:sldLayoutId id="2147483692" r:id="rId35"/>
    <p:sldLayoutId id="2147483693" r:id="rId36"/>
    <p:sldLayoutId id="2147483694" r:id="rId37"/>
    <p:sldLayoutId id="2147483695" r:id="rId38"/>
    <p:sldLayoutId id="2147483654" r:id="rId39"/>
    <p:sldLayoutId id="2147483696" r:id="rId40"/>
    <p:sldLayoutId id="2147483697" r:id="rId41"/>
    <p:sldLayoutId id="2147483698" r:id="rId42"/>
    <p:sldLayoutId id="2147483699" r:id="rId43"/>
    <p:sldLayoutId id="2147483703" r:id="rId44"/>
    <p:sldLayoutId id="2147483700" r:id="rId45"/>
    <p:sldLayoutId id="2147483701" r:id="rId46"/>
    <p:sldLayoutId id="2147483702" r:id="rId47"/>
    <p:sldLayoutId id="2147483715" r:id="rId48"/>
    <p:sldLayoutId id="2147483716" r:id="rId49"/>
    <p:sldLayoutId id="2147483704" r:id="rId50"/>
    <p:sldLayoutId id="2147483705" r:id="rId51"/>
    <p:sldLayoutId id="2147483706" r:id="rId52"/>
    <p:sldLayoutId id="2147483707" r:id="rId53"/>
    <p:sldLayoutId id="2147483708" r:id="rId54"/>
    <p:sldLayoutId id="2147483709" r:id="rId55"/>
    <p:sldLayoutId id="2147483710" r:id="rId56"/>
    <p:sldLayoutId id="2147483711" r:id="rId57"/>
    <p:sldLayoutId id="2147483712" r:id="rId58"/>
    <p:sldLayoutId id="2147483713" r:id="rId59"/>
    <p:sldLayoutId id="2147483714" r:id="rId6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 spc="-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64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600" kern="1200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3564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2pPr>
      <a:lvl3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3pPr>
      <a:lvl4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5pPr>
      <a:lvl6pPr marL="356400" indent="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None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lnSpc>
          <a:spcPct val="107000"/>
        </a:lnSpc>
        <a:spcBef>
          <a:spcPts val="1200"/>
        </a:spcBef>
        <a:buFont typeface="SKF Sans Office" pitchFamily="2" charset="0"/>
        <a:buChar char="•"/>
        <a:defRPr sz="1400" kern="1200" spc="-2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 userDrawn="1">
          <p15:clr>
            <a:srgbClr val="F26B43"/>
          </p15:clr>
        </p15:guide>
        <p15:guide id="2" orient="horz" pos="726" userDrawn="1">
          <p15:clr>
            <a:srgbClr val="F26B43"/>
          </p15:clr>
        </p15:guide>
        <p15:guide id="3" pos="122" userDrawn="1">
          <p15:clr>
            <a:srgbClr val="F26B43"/>
          </p15:clr>
        </p15:guide>
        <p15:guide id="4" pos="659" userDrawn="1">
          <p15:clr>
            <a:srgbClr val="F26B43"/>
          </p15:clr>
        </p15:guide>
        <p15:guide id="5" pos="749" userDrawn="1">
          <p15:clr>
            <a:srgbClr val="F26B43"/>
          </p15:clr>
        </p15:guide>
        <p15:guide id="6" pos="1286" userDrawn="1">
          <p15:clr>
            <a:srgbClr val="F26B43"/>
          </p15:clr>
        </p15:guide>
        <p15:guide id="7" pos="1376" userDrawn="1">
          <p15:clr>
            <a:srgbClr val="F26B43"/>
          </p15:clr>
        </p15:guide>
        <p15:guide id="8" pos="1913" userDrawn="1">
          <p15:clr>
            <a:srgbClr val="F26B43"/>
          </p15:clr>
        </p15:guide>
        <p15:guide id="9" pos="2003" userDrawn="1">
          <p15:clr>
            <a:srgbClr val="F26B43"/>
          </p15:clr>
        </p15:guide>
        <p15:guide id="10" pos="2540" userDrawn="1">
          <p15:clr>
            <a:srgbClr val="F26B43"/>
          </p15:clr>
        </p15:guide>
        <p15:guide id="11" pos="2630" userDrawn="1">
          <p15:clr>
            <a:srgbClr val="F26B43"/>
          </p15:clr>
        </p15:guide>
        <p15:guide id="12" pos="3168" userDrawn="1">
          <p15:clr>
            <a:srgbClr val="F26B43"/>
          </p15:clr>
        </p15:guide>
        <p15:guide id="13" pos="3257" userDrawn="1">
          <p15:clr>
            <a:srgbClr val="F26B43"/>
          </p15:clr>
        </p15:guide>
        <p15:guide id="14" pos="3795" userDrawn="1">
          <p15:clr>
            <a:srgbClr val="F26B43"/>
          </p15:clr>
        </p15:guide>
        <p15:guide id="15" pos="3884" userDrawn="1">
          <p15:clr>
            <a:srgbClr val="F26B43"/>
          </p15:clr>
        </p15:guide>
        <p15:guide id="16" pos="4422" userDrawn="1">
          <p15:clr>
            <a:srgbClr val="F26B43"/>
          </p15:clr>
        </p15:guide>
        <p15:guide id="17" pos="4511" userDrawn="1">
          <p15:clr>
            <a:srgbClr val="F26B43"/>
          </p15:clr>
        </p15:guide>
        <p15:guide id="18" pos="5049" userDrawn="1">
          <p15:clr>
            <a:srgbClr val="F26B43"/>
          </p15:clr>
        </p15:guide>
        <p15:guide id="19" pos="5139" userDrawn="1">
          <p15:clr>
            <a:srgbClr val="F26B43"/>
          </p15:clr>
        </p15:guide>
        <p15:guide id="20" pos="5676" userDrawn="1">
          <p15:clr>
            <a:srgbClr val="F26B43"/>
          </p15:clr>
        </p15:guide>
        <p15:guide id="21" pos="5766" userDrawn="1">
          <p15:clr>
            <a:srgbClr val="F26B43"/>
          </p15:clr>
        </p15:guide>
        <p15:guide id="22" pos="6303" userDrawn="1">
          <p15:clr>
            <a:srgbClr val="F26B43"/>
          </p15:clr>
        </p15:guide>
        <p15:guide id="23" pos="6393" userDrawn="1">
          <p15:clr>
            <a:srgbClr val="F26B43"/>
          </p15:clr>
        </p15:guide>
        <p15:guide id="24" pos="6930" userDrawn="1">
          <p15:clr>
            <a:srgbClr val="F26B43"/>
          </p15:clr>
        </p15:guide>
        <p15:guide id="25" pos="7020" userDrawn="1">
          <p15:clr>
            <a:srgbClr val="F26B43"/>
          </p15:clr>
        </p15:guide>
        <p15:guide id="26" pos="7557" userDrawn="1">
          <p15:clr>
            <a:srgbClr val="F26B43"/>
          </p15:clr>
        </p15:guide>
        <p15:guide id="27" orient="horz" pos="817" userDrawn="1">
          <p15:clr>
            <a:srgbClr val="F26B43"/>
          </p15:clr>
        </p15:guide>
        <p15:guide id="28" orient="horz" pos="1420" userDrawn="1">
          <p15:clr>
            <a:srgbClr val="F26B43"/>
          </p15:clr>
        </p15:guide>
        <p15:guide id="29" orient="horz" pos="1511" userDrawn="1">
          <p15:clr>
            <a:srgbClr val="F26B43"/>
          </p15:clr>
        </p15:guide>
        <p15:guide id="30" orient="horz" pos="2114" userDrawn="1">
          <p15:clr>
            <a:srgbClr val="F26B43"/>
          </p15:clr>
        </p15:guide>
        <p15:guide id="31" orient="horz" pos="2205" userDrawn="1">
          <p15:clr>
            <a:srgbClr val="F26B43"/>
          </p15:clr>
        </p15:guide>
        <p15:guide id="32" orient="horz" pos="2808" userDrawn="1">
          <p15:clr>
            <a:srgbClr val="F26B43"/>
          </p15:clr>
        </p15:guide>
        <p15:guide id="33" orient="horz" pos="2899" userDrawn="1">
          <p15:clr>
            <a:srgbClr val="F26B43"/>
          </p15:clr>
        </p15:guide>
        <p15:guide id="34" orient="horz" pos="3502" userDrawn="1">
          <p15:clr>
            <a:srgbClr val="F26B43"/>
          </p15:clr>
        </p15:guide>
        <p15:guide id="35" orient="horz" pos="3593" userDrawn="1">
          <p15:clr>
            <a:srgbClr val="F26B43"/>
          </p15:clr>
        </p15:guide>
        <p15:guide id="36" orient="horz" pos="41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118B117-0B8E-3C05-24CA-66969151A2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26997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4" progId="TCLayout.ActiveDocument.1">
                  <p:embed/>
                </p:oleObj>
              </mc:Choice>
              <mc:Fallback>
                <p:oleObj name="think-cell Slide" r:id="rId21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18B117-0B8E-3C05-24CA-66969151A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4">
            <a:extLst>
              <a:ext uri="{FF2B5EF4-FFF2-40B4-BE49-F238E27FC236}">
                <a16:creationId xmlns:a16="http://schemas.microsoft.com/office/drawing/2014/main" id="{B4E9A893-6AF0-4B8C-9D2D-BBCD0F3AC5D8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249025" y="0"/>
            <a:ext cx="942975" cy="542925"/>
          </a:xfrm>
          <a:prstGeom prst="rect">
            <a:avLst/>
          </a:prstGeom>
        </p:spPr>
      </p:pic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EBDB4792-2DD8-4659-BDA3-DA8F6094E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800" y="540000"/>
            <a:ext cx="7394400" cy="180342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GB" noProof="0" dirty="0"/>
              <a:t>Click and add tit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6CC0AFF-0D9F-484D-A1E5-C49776BC9E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0" y="6696000"/>
            <a:ext cx="5400000" cy="162000"/>
          </a:xfrm>
          <a:prstGeom prst="rect">
            <a:avLst/>
          </a:prstGeom>
        </p:spPr>
        <p:txBody>
          <a:bodyPr wrap="none" lIns="0" tIns="0" rIns="180000" bIns="0" anchor="ctr" anchorCtr="0">
            <a:noAutofit/>
          </a:bodyPr>
          <a:lstStyle>
            <a:lvl1pPr algn="l">
              <a:defRPr lang="en-GB" sz="600"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01DABA3-3313-4B89-B1A7-054633806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000" y="6696000"/>
            <a:ext cx="90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fld id="{1BF850E8-5C79-47A6-BF51-E088C95CC521}" type="datetime4">
              <a:rPr lang="en-GB" smtClean="0"/>
              <a:pPr/>
              <a:t>19 September 2025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D9CD4A9-CDF3-4DD4-BB68-8566C9E3C9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696000"/>
            <a:ext cx="540000" cy="16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GB" dirty="0"/>
              <a:t>Slide </a:t>
            </a:r>
            <a:fld id="{76334558-CCCF-4D1D-AE70-66F3BBA5134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BE51B1-BFD1-4AE9-8EFA-49D9BD1CEB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97600" y="2520000"/>
            <a:ext cx="7394400" cy="41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247FFB-F130-D4AF-F9D3-A3D2AA3330FB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7383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1000">
                <a:solidFill>
                  <a:srgbClr val="0000FE">
                    <a:alpha val="50000"/>
                  </a:srgbClr>
                </a:solidFill>
                <a:latin typeface="SKF Sans Office" pitchFamily="2" charset="0"/>
              </a:rPr>
              <a:t>Confidentiality: C2 – Internal </a:t>
            </a:r>
          </a:p>
        </p:txBody>
      </p:sp>
    </p:spTree>
    <p:extLst>
      <p:ext uri="{BB962C8B-B14F-4D97-AF65-F5344CB8AC3E}">
        <p14:creationId xmlns:p14="http://schemas.microsoft.com/office/powerpoint/2010/main" val="701671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</p:sldLayoutIdLst>
  <p:transition spd="slow">
    <p:push dir="u"/>
  </p:transition>
  <p:hf sldNum="0" hdr="0" ftr="0" dt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lang="en-GB" sz="32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23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None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42000" indent="-342000" algn="l" defTabSz="914423" rtl="0" eaLnBrk="1" latinLnBrk="0" hangingPunct="1">
        <a:lnSpc>
          <a:spcPct val="90000"/>
        </a:lnSpc>
        <a:spcBef>
          <a:spcPts val="900"/>
        </a:spcBef>
        <a:buSzPct val="90000"/>
        <a:buFont typeface="Calibri Light" panose="020F0302020204030204" pitchFamily="34" charset="0"/>
        <a:buChar char="•"/>
        <a:tabLst>
          <a:tab pos="342000" algn="l"/>
        </a:tabLst>
        <a:defRPr lang="en-US" sz="24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684000" indent="-342000" algn="l" defTabSz="914423" rtl="0" eaLnBrk="1" latinLnBrk="0" hangingPunct="1">
        <a:lnSpc>
          <a:spcPct val="90000"/>
        </a:lnSpc>
        <a:spcBef>
          <a:spcPts val="400"/>
        </a:spcBef>
        <a:buFont typeface="Calibri Light" panose="020F0302020204030204" pitchFamily="34" charset="0"/>
        <a:buChar char="–"/>
        <a:tabLst>
          <a:tab pos="684000" algn="l"/>
        </a:tabLst>
        <a:defRPr lang="en-US" sz="20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026000" indent="-342000" algn="l" defTabSz="914423" rtl="0" eaLnBrk="1" latinLnBrk="0" hangingPunct="1">
        <a:lnSpc>
          <a:spcPct val="90000"/>
        </a:lnSpc>
        <a:spcBef>
          <a:spcPts val="0"/>
        </a:spcBef>
        <a:buFont typeface="Calibri Light" panose="020F0302020204030204" pitchFamily="34" charset="0"/>
        <a:buChar char="–"/>
        <a:tabLst>
          <a:tab pos="1026000" algn="l"/>
        </a:tabLst>
        <a:defRPr lang="en-US" sz="18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1368000" indent="-342000" algn="l" defTabSz="914423" rtl="0" eaLnBrk="1" latinLnBrk="0" hangingPunct="1">
        <a:lnSpc>
          <a:spcPct val="90000"/>
        </a:lnSpc>
        <a:spcBef>
          <a:spcPts val="0"/>
        </a:spcBef>
        <a:buFont typeface="Calibri Light" panose="020F0302020204030204" pitchFamily="34" charset="0"/>
        <a:buChar char="–"/>
        <a:tabLst>
          <a:tab pos="1368000" algn="l"/>
        </a:tabLst>
        <a:defRPr lang="en-GB" sz="160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63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4">
          <p15:clr>
            <a:srgbClr val="F26B43"/>
          </p15:clr>
        </p15:guide>
        <p15:guide id="2" orient="horz" pos="4206">
          <p15:clr>
            <a:srgbClr val="F26B43"/>
          </p15:clr>
        </p15:guide>
        <p15:guide id="3" pos="112">
          <p15:clr>
            <a:srgbClr val="F26B43"/>
          </p15:clr>
        </p15:guide>
        <p15:guide id="4" pos="75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38.xml"/><Relationship Id="rId5" Type="http://schemas.openxmlformats.org/officeDocument/2006/relationships/image" Target="../media/image17.png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43.xml"/><Relationship Id="rId6" Type="http://schemas.openxmlformats.org/officeDocument/2006/relationships/image" Target="../media/image21.png"/><Relationship Id="rId5" Type="http://schemas.openxmlformats.org/officeDocument/2006/relationships/image" Target="../media/image26.png"/><Relationship Id="rId4" Type="http://schemas.openxmlformats.org/officeDocument/2006/relationships/image" Target="../media/image1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4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45.xml"/><Relationship Id="rId5" Type="http://schemas.openxmlformats.org/officeDocument/2006/relationships/image" Target="../media/image29.png"/><Relationship Id="rId4" Type="http://schemas.openxmlformats.org/officeDocument/2006/relationships/image" Target="../media/image1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46.xml"/><Relationship Id="rId4" Type="http://schemas.openxmlformats.org/officeDocument/2006/relationships/image" Target="../media/image1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2.jpg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47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39.xml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40.xml"/><Relationship Id="rId5" Type="http://schemas.openxmlformats.org/officeDocument/2006/relationships/image" Target="../media/image18.png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4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64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W3vLDcyQJqg" TargetMode="External"/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1A2E945-37AF-7AEB-3736-2536793A88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A2E945-37AF-7AEB-3736-2536793A88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18C361D-F4FD-B271-44EC-DAC58362EBA9}"/>
              </a:ext>
            </a:extLst>
          </p:cNvPr>
          <p:cNvSpPr/>
          <p:nvPr/>
        </p:nvSpPr>
        <p:spPr>
          <a:xfrm>
            <a:off x="11140580" y="75501"/>
            <a:ext cx="1051420" cy="5536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0EECE8-4178-B05B-BA2A-5C05EC8F7C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224598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7223BDB-B95E-564E-2DDE-B0EFB65D92D8}"/>
              </a:ext>
            </a:extLst>
          </p:cNvPr>
          <p:cNvSpPr txBox="1"/>
          <p:nvPr/>
        </p:nvSpPr>
        <p:spPr>
          <a:xfrm>
            <a:off x="3154261" y="1728132"/>
            <a:ext cx="6803471" cy="4317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2. Säsongsplanering 25-26</a:t>
            </a:r>
          </a:p>
        </p:txBody>
      </p:sp>
    </p:spTree>
    <p:extLst>
      <p:ext uri="{BB962C8B-B14F-4D97-AF65-F5344CB8AC3E}">
        <p14:creationId xmlns:p14="http://schemas.microsoft.com/office/powerpoint/2010/main" val="3397036238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Rak koppling 3">
            <a:extLst>
              <a:ext uri="{FF2B5EF4-FFF2-40B4-BE49-F238E27FC236}">
                <a16:creationId xmlns:a16="http://schemas.microsoft.com/office/drawing/2014/main" id="{2965D8DB-1EBC-4564-84A5-499E9D95EC26}"/>
              </a:ext>
            </a:extLst>
          </p:cNvPr>
          <p:cNvCxnSpPr>
            <a:cxnSpLocks/>
          </p:cNvCxnSpPr>
          <p:nvPr/>
        </p:nvCxnSpPr>
        <p:spPr>
          <a:xfrm flipV="1">
            <a:off x="327219" y="6342078"/>
            <a:ext cx="3741442" cy="8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Rak koppling 4">
            <a:extLst>
              <a:ext uri="{FF2B5EF4-FFF2-40B4-BE49-F238E27FC236}">
                <a16:creationId xmlns:a16="http://schemas.microsoft.com/office/drawing/2014/main" id="{D7577505-CB49-461A-9B36-9A44CD1FD409}"/>
              </a:ext>
            </a:extLst>
          </p:cNvPr>
          <p:cNvCxnSpPr/>
          <p:nvPr/>
        </p:nvCxnSpPr>
        <p:spPr>
          <a:xfrm flipV="1">
            <a:off x="4068661" y="4546834"/>
            <a:ext cx="0" cy="17952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ak koppling 5">
            <a:extLst>
              <a:ext uri="{FF2B5EF4-FFF2-40B4-BE49-F238E27FC236}">
                <a16:creationId xmlns:a16="http://schemas.microsoft.com/office/drawing/2014/main" id="{A97C0B1F-7326-4EA8-A99B-3E04532D5664}"/>
              </a:ext>
            </a:extLst>
          </p:cNvPr>
          <p:cNvCxnSpPr/>
          <p:nvPr/>
        </p:nvCxnSpPr>
        <p:spPr>
          <a:xfrm>
            <a:off x="4068661" y="4546834"/>
            <a:ext cx="40351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Rak koppling 6">
            <a:extLst>
              <a:ext uri="{FF2B5EF4-FFF2-40B4-BE49-F238E27FC236}">
                <a16:creationId xmlns:a16="http://schemas.microsoft.com/office/drawing/2014/main" id="{F088737B-52F4-4EF9-AF97-B6CA6F2B0AE7}"/>
              </a:ext>
            </a:extLst>
          </p:cNvPr>
          <p:cNvCxnSpPr/>
          <p:nvPr/>
        </p:nvCxnSpPr>
        <p:spPr>
          <a:xfrm flipV="1">
            <a:off x="8103765" y="2793535"/>
            <a:ext cx="0" cy="1753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Rak koppling 7">
            <a:extLst>
              <a:ext uri="{FF2B5EF4-FFF2-40B4-BE49-F238E27FC236}">
                <a16:creationId xmlns:a16="http://schemas.microsoft.com/office/drawing/2014/main" id="{5004DCA8-6BC2-44A8-94AF-1D53FDF2F150}"/>
              </a:ext>
            </a:extLst>
          </p:cNvPr>
          <p:cNvCxnSpPr/>
          <p:nvPr/>
        </p:nvCxnSpPr>
        <p:spPr>
          <a:xfrm>
            <a:off x="8103765" y="2793535"/>
            <a:ext cx="25754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ruta 8">
            <a:extLst>
              <a:ext uri="{FF2B5EF4-FFF2-40B4-BE49-F238E27FC236}">
                <a16:creationId xmlns:a16="http://schemas.microsoft.com/office/drawing/2014/main" id="{D31DDC4F-44F8-4CA6-9C8F-496974E4E29D}"/>
              </a:ext>
            </a:extLst>
          </p:cNvPr>
          <p:cNvSpPr txBox="1"/>
          <p:nvPr/>
        </p:nvSpPr>
        <p:spPr>
          <a:xfrm>
            <a:off x="1815463" y="6506820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ivå 3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7690E8CF-350B-424F-9F40-FF61E4D3A041}"/>
              </a:ext>
            </a:extLst>
          </p:cNvPr>
          <p:cNvSpPr txBox="1"/>
          <p:nvPr/>
        </p:nvSpPr>
        <p:spPr>
          <a:xfrm>
            <a:off x="5721341" y="4739556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ivå 2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ED26464D-2E13-42E6-A18D-F8505E5EFCD3}"/>
              </a:ext>
            </a:extLst>
          </p:cNvPr>
          <p:cNvSpPr txBox="1"/>
          <p:nvPr/>
        </p:nvSpPr>
        <p:spPr>
          <a:xfrm>
            <a:off x="9744840" y="2972060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ivå 1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03BC7421-E0FA-4E76-95E5-F8BD6C935CBC}"/>
              </a:ext>
            </a:extLst>
          </p:cNvPr>
          <p:cNvSpPr txBox="1"/>
          <p:nvPr/>
        </p:nvSpPr>
        <p:spPr>
          <a:xfrm>
            <a:off x="-326698" y="5599852"/>
            <a:ext cx="4833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lest spelare är nybörjare eller tränat 1-3 år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E98E2D08-6313-4559-9552-CCAB15949B51}"/>
              </a:ext>
            </a:extLst>
          </p:cNvPr>
          <p:cNvSpPr txBox="1"/>
          <p:nvPr/>
        </p:nvSpPr>
        <p:spPr>
          <a:xfrm>
            <a:off x="3256788" y="3993623"/>
            <a:ext cx="25699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lest spelare tränat 3-6 år 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4796C9AF-4673-4ADD-83D2-46133A071745}"/>
              </a:ext>
            </a:extLst>
          </p:cNvPr>
          <p:cNvSpPr txBox="1"/>
          <p:nvPr/>
        </p:nvSpPr>
        <p:spPr>
          <a:xfrm>
            <a:off x="7262385" y="2242046"/>
            <a:ext cx="29979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lesta spelare tränat i många år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D16DED55-06BC-4110-9038-8E946FAB39A7}"/>
              </a:ext>
            </a:extLst>
          </p:cNvPr>
          <p:cNvSpPr txBox="1"/>
          <p:nvPr/>
        </p:nvSpPr>
        <p:spPr>
          <a:xfrm>
            <a:off x="3267929" y="3348823"/>
            <a:ext cx="48159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Jämn fördelning av handbollskunskap på medelnivå</a:t>
            </a:r>
          </a:p>
        </p:txBody>
      </p:sp>
      <p:sp>
        <p:nvSpPr>
          <p:cNvPr id="16" name="textruta 15">
            <a:extLst>
              <a:ext uri="{FF2B5EF4-FFF2-40B4-BE49-F238E27FC236}">
                <a16:creationId xmlns:a16="http://schemas.microsoft.com/office/drawing/2014/main" id="{23810750-4CF3-48B2-A8BD-392EE1A3C626}"/>
              </a:ext>
            </a:extLst>
          </p:cNvPr>
          <p:cNvSpPr txBox="1"/>
          <p:nvPr/>
        </p:nvSpPr>
        <p:spPr>
          <a:xfrm>
            <a:off x="3267929" y="3671364"/>
            <a:ext cx="50401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or spridning av handbollskunskap – från låg till hög nivå</a:t>
            </a:r>
          </a:p>
        </p:txBody>
      </p:sp>
      <p:sp>
        <p:nvSpPr>
          <p:cNvPr id="17" name="textruta 16">
            <a:extLst>
              <a:ext uri="{FF2B5EF4-FFF2-40B4-BE49-F238E27FC236}">
                <a16:creationId xmlns:a16="http://schemas.microsoft.com/office/drawing/2014/main" id="{04411469-FBC3-474A-98BA-AFEB750FF684}"/>
              </a:ext>
            </a:extLst>
          </p:cNvPr>
          <p:cNvSpPr txBox="1"/>
          <p:nvPr/>
        </p:nvSpPr>
        <p:spPr>
          <a:xfrm>
            <a:off x="7262385" y="1630929"/>
            <a:ext cx="44422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Jämn fördelning av handbollskunskap på hög nivå</a:t>
            </a:r>
          </a:p>
        </p:txBody>
      </p:sp>
      <p:sp>
        <p:nvSpPr>
          <p:cNvPr id="18" name="textruta 17">
            <a:extLst>
              <a:ext uri="{FF2B5EF4-FFF2-40B4-BE49-F238E27FC236}">
                <a16:creationId xmlns:a16="http://schemas.microsoft.com/office/drawing/2014/main" id="{E3E0861D-3374-47E3-A3CD-C4460B07DE5C}"/>
              </a:ext>
            </a:extLst>
          </p:cNvPr>
          <p:cNvSpPr txBox="1"/>
          <p:nvPr/>
        </p:nvSpPr>
        <p:spPr>
          <a:xfrm>
            <a:off x="127214" y="5092582"/>
            <a:ext cx="50481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Jämn fördelning av handbollskunskap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    på låg- och medelnivå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0E61CEB0-D282-46F0-868B-B55D2BBA8D08}"/>
              </a:ext>
            </a:extLst>
          </p:cNvPr>
          <p:cNvSpPr txBox="1"/>
          <p:nvPr/>
        </p:nvSpPr>
        <p:spPr>
          <a:xfrm>
            <a:off x="7262385" y="1922026"/>
            <a:ext cx="45031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Rankar laget som topp 25 i distriktet i sin ålderskull</a:t>
            </a: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AB05267F-03E3-4821-B807-FE365BAE5FD2}"/>
              </a:ext>
            </a:extLst>
          </p:cNvPr>
          <p:cNvSpPr txBox="1"/>
          <p:nvPr/>
        </p:nvSpPr>
        <p:spPr>
          <a:xfrm>
            <a:off x="3267929" y="4283336"/>
            <a:ext cx="36760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Geografisk hänsyn prioriteras om möjligt</a:t>
            </a: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E6E25B59-8B44-4AAA-8AD7-61C9CDC082C6}"/>
              </a:ext>
            </a:extLst>
          </p:cNvPr>
          <p:cNvSpPr txBox="1"/>
          <p:nvPr/>
        </p:nvSpPr>
        <p:spPr>
          <a:xfrm>
            <a:off x="7262385" y="2557637"/>
            <a:ext cx="49103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Geografisk hänsyn i mindre utsträckning i serieindelning</a:t>
            </a:r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id="{E719074F-9B0E-4C4C-9380-FD0562AD790A}"/>
              </a:ext>
            </a:extLst>
          </p:cNvPr>
          <p:cNvSpPr txBox="1"/>
          <p:nvPr/>
        </p:nvSpPr>
        <p:spPr>
          <a:xfrm>
            <a:off x="2987259" y="416939"/>
            <a:ext cx="546816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gledning anmälan til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ivåindelat seriespel</a:t>
            </a:r>
          </a:p>
        </p:txBody>
      </p:sp>
      <p:sp>
        <p:nvSpPr>
          <p:cNvPr id="24" name="textruta 23">
            <a:extLst>
              <a:ext uri="{FF2B5EF4-FFF2-40B4-BE49-F238E27FC236}">
                <a16:creationId xmlns:a16="http://schemas.microsoft.com/office/drawing/2014/main" id="{1C581CAC-7BEB-42F7-A974-AA3409D2100F}"/>
              </a:ext>
            </a:extLst>
          </p:cNvPr>
          <p:cNvSpPr txBox="1"/>
          <p:nvPr/>
        </p:nvSpPr>
        <p:spPr>
          <a:xfrm>
            <a:off x="257058" y="1904140"/>
            <a:ext cx="366638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yftet med nivåtrapp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gledning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för anmälan till seriesp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lla punkter för respektive nivå behöv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    </a:t>
            </a:r>
            <a:r>
              <a:rPr kumimoji="0" lang="sv-SE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TE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vara uppfyllt</a:t>
            </a:r>
          </a:p>
        </p:txBody>
      </p:sp>
      <p:sp>
        <p:nvSpPr>
          <p:cNvPr id="25" name="textruta 24">
            <a:extLst>
              <a:ext uri="{FF2B5EF4-FFF2-40B4-BE49-F238E27FC236}">
                <a16:creationId xmlns:a16="http://schemas.microsoft.com/office/drawing/2014/main" id="{9801D14A-41D0-437D-8E57-B58839FAD5FD}"/>
              </a:ext>
            </a:extLst>
          </p:cNvPr>
          <p:cNvSpPr txBox="1"/>
          <p:nvPr/>
        </p:nvSpPr>
        <p:spPr>
          <a:xfrm>
            <a:off x="6220287" y="5444456"/>
            <a:ext cx="564449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ips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Kontakta era motstånd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ar gått jättebra för tidigare lag vid anmälan – lita på magkänsl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26" name="Bildobjekt 25">
            <a:extLst>
              <a:ext uri="{FF2B5EF4-FFF2-40B4-BE49-F238E27FC236}">
                <a16:creationId xmlns:a16="http://schemas.microsoft.com/office/drawing/2014/main" id="{8564E157-2FA8-44B1-9F0D-E6BF73DE66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5165" y="327211"/>
            <a:ext cx="2189062" cy="1116422"/>
          </a:xfrm>
          <a:prstGeom prst="rect">
            <a:avLst/>
          </a:prstGeom>
        </p:spPr>
      </p:pic>
      <p:cxnSp>
        <p:nvCxnSpPr>
          <p:cNvPr id="32" name="Rak koppling 31">
            <a:extLst>
              <a:ext uri="{FF2B5EF4-FFF2-40B4-BE49-F238E27FC236}">
                <a16:creationId xmlns:a16="http://schemas.microsoft.com/office/drawing/2014/main" id="{6741D537-A102-4B13-A0A2-3D65EB88D845}"/>
              </a:ext>
            </a:extLst>
          </p:cNvPr>
          <p:cNvCxnSpPr>
            <a:cxnSpLocks/>
          </p:cNvCxnSpPr>
          <p:nvPr/>
        </p:nvCxnSpPr>
        <p:spPr>
          <a:xfrm flipV="1">
            <a:off x="479619" y="6494478"/>
            <a:ext cx="3741442" cy="838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ak koppling 32">
            <a:extLst>
              <a:ext uri="{FF2B5EF4-FFF2-40B4-BE49-F238E27FC236}">
                <a16:creationId xmlns:a16="http://schemas.microsoft.com/office/drawing/2014/main" id="{09638C7E-9D5D-48DC-910E-4FF9EA04A13B}"/>
              </a:ext>
            </a:extLst>
          </p:cNvPr>
          <p:cNvCxnSpPr/>
          <p:nvPr/>
        </p:nvCxnSpPr>
        <p:spPr>
          <a:xfrm flipV="1">
            <a:off x="4221061" y="4699234"/>
            <a:ext cx="0" cy="179524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ak koppling 33">
            <a:extLst>
              <a:ext uri="{FF2B5EF4-FFF2-40B4-BE49-F238E27FC236}">
                <a16:creationId xmlns:a16="http://schemas.microsoft.com/office/drawing/2014/main" id="{094B8848-3A97-4FA9-A8DC-6841D7E49EE2}"/>
              </a:ext>
            </a:extLst>
          </p:cNvPr>
          <p:cNvCxnSpPr/>
          <p:nvPr/>
        </p:nvCxnSpPr>
        <p:spPr>
          <a:xfrm>
            <a:off x="4221061" y="4699234"/>
            <a:ext cx="403510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ak koppling 34">
            <a:extLst>
              <a:ext uri="{FF2B5EF4-FFF2-40B4-BE49-F238E27FC236}">
                <a16:creationId xmlns:a16="http://schemas.microsoft.com/office/drawing/2014/main" id="{87271510-303A-42F7-B314-CACA2E01E190}"/>
              </a:ext>
            </a:extLst>
          </p:cNvPr>
          <p:cNvCxnSpPr/>
          <p:nvPr/>
        </p:nvCxnSpPr>
        <p:spPr>
          <a:xfrm flipV="1">
            <a:off x="8245023" y="2934862"/>
            <a:ext cx="0" cy="175329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ak koppling 35">
            <a:extLst>
              <a:ext uri="{FF2B5EF4-FFF2-40B4-BE49-F238E27FC236}">
                <a16:creationId xmlns:a16="http://schemas.microsoft.com/office/drawing/2014/main" id="{85696F30-A703-4648-89CF-4147FBE46C56}"/>
              </a:ext>
            </a:extLst>
          </p:cNvPr>
          <p:cNvCxnSpPr>
            <a:cxnSpLocks/>
          </p:cNvCxnSpPr>
          <p:nvPr/>
        </p:nvCxnSpPr>
        <p:spPr>
          <a:xfrm>
            <a:off x="8256165" y="2934862"/>
            <a:ext cx="3150268" cy="941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ruta 30">
            <a:extLst>
              <a:ext uri="{FF2B5EF4-FFF2-40B4-BE49-F238E27FC236}">
                <a16:creationId xmlns:a16="http://schemas.microsoft.com/office/drawing/2014/main" id="{D763378A-2770-4BB4-846B-B140A6054245}"/>
              </a:ext>
            </a:extLst>
          </p:cNvPr>
          <p:cNvSpPr txBox="1"/>
          <p:nvPr/>
        </p:nvSpPr>
        <p:spPr>
          <a:xfrm>
            <a:off x="127214" y="5942574"/>
            <a:ext cx="36760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Geografisk hänsyn prioriteras om möjligt</a:t>
            </a:r>
          </a:p>
        </p:txBody>
      </p:sp>
    </p:spTree>
    <p:extLst>
      <p:ext uri="{BB962C8B-B14F-4D97-AF65-F5344CB8AC3E}">
        <p14:creationId xmlns:p14="http://schemas.microsoft.com/office/powerpoint/2010/main" val="4228098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1" grpId="0"/>
      <p:bldP spid="22" grpId="0"/>
      <p:bldP spid="24" grpId="0"/>
      <p:bldP spid="25" grpId="0"/>
      <p:bldP spid="3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1">
            <a:extLst>
              <a:ext uri="{FF2B5EF4-FFF2-40B4-BE49-F238E27FC236}">
                <a16:creationId xmlns:a16="http://schemas.microsoft.com/office/drawing/2014/main" id="{386FAEB1-7CAF-4B29-8C44-A6B938C6924B}"/>
              </a:ext>
            </a:extLst>
          </p:cNvPr>
          <p:cNvSpPr txBox="1"/>
          <p:nvPr/>
        </p:nvSpPr>
        <p:spPr>
          <a:xfrm>
            <a:off x="3884603" y="1693552"/>
            <a:ext cx="463941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atchklimat och värdegrund </a:t>
            </a:r>
          </a:p>
        </p:txBody>
      </p:sp>
      <p:pic>
        <p:nvPicPr>
          <p:cNvPr id="1026" name="Picture 2" descr="text på blå bakgrund där det står: Spelare- Respekterar domare, ledare, med- och motspelare genom att främja rent spel, uppträda schysst och ta förluster på rätt sätt.Ledare - Är ett föredöme, genom att acceptera domslut, sätta gränser och tillåta misstag hos spelare och domare.Föräldrar -Har ett enormt ansvar som förebilder, genom att stödja och uppmuntra, berömma prestationer och inte resultat, självklart med ett vårdat språk och kommenterar inga domslut. DETTA STÅR VI FÖR - GÖR DU?">
            <a:extLst>
              <a:ext uri="{FF2B5EF4-FFF2-40B4-BE49-F238E27FC236}">
                <a16:creationId xmlns:a16="http://schemas.microsoft.com/office/drawing/2014/main" id="{B3DF084C-06DD-9AFC-5F42-BB4C8C1061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8" t="11642" r="4869" b="5821"/>
          <a:stretch/>
        </p:blipFill>
        <p:spPr bwMode="auto">
          <a:xfrm>
            <a:off x="2195518" y="2170606"/>
            <a:ext cx="8615918" cy="4660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1D960550-5998-4E64-3D6F-45624579EE33}"/>
              </a:ext>
            </a:extLst>
          </p:cNvPr>
          <p:cNvSpPr txBox="1"/>
          <p:nvPr/>
        </p:nvSpPr>
        <p:spPr>
          <a:xfrm>
            <a:off x="4363901" y="824083"/>
            <a:ext cx="36808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#schysstmatch  </a:t>
            </a:r>
          </a:p>
        </p:txBody>
      </p:sp>
    </p:spTree>
    <p:extLst>
      <p:ext uri="{BB962C8B-B14F-4D97-AF65-F5344CB8AC3E}">
        <p14:creationId xmlns:p14="http://schemas.microsoft.com/office/powerpoint/2010/main" val="24540618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1">
            <a:extLst>
              <a:ext uri="{FF2B5EF4-FFF2-40B4-BE49-F238E27FC236}">
                <a16:creationId xmlns:a16="http://schemas.microsoft.com/office/drawing/2014/main" id="{08D34D25-775D-4DAA-887D-92B4CB5C6B5B}"/>
              </a:ext>
            </a:extLst>
          </p:cNvPr>
          <p:cNvSpPr txBox="1"/>
          <p:nvPr/>
        </p:nvSpPr>
        <p:spPr>
          <a:xfrm>
            <a:off x="3202885" y="832809"/>
            <a:ext cx="71112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lektroniskt matchprotokoll 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AE7A1C9D-83A2-4C8D-A218-306F5D8CA6CE}"/>
              </a:ext>
            </a:extLst>
          </p:cNvPr>
          <p:cNvSpPr txBox="1"/>
          <p:nvPr/>
        </p:nvSpPr>
        <p:spPr>
          <a:xfrm>
            <a:off x="1512499" y="4848202"/>
            <a:ext cx="1000298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n funktionär (förälder/övrig vuxen) sköter klockan/måltavla och en sköter EMP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FD229AAB-0999-7D99-7A05-99454B8C3902}"/>
              </a:ext>
            </a:extLst>
          </p:cNvPr>
          <p:cNvSpPr txBox="1"/>
          <p:nvPr/>
        </p:nvSpPr>
        <p:spPr>
          <a:xfrm>
            <a:off x="1562100" y="1981307"/>
            <a:ext cx="92487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lla serier med resultatvisning och tabell spelas med EMP.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928F3950-A0A8-38EB-8EF0-A5106A8D4E58}"/>
              </a:ext>
            </a:extLst>
          </p:cNvPr>
          <p:cNvSpPr txBox="1"/>
          <p:nvPr/>
        </p:nvSpPr>
        <p:spPr>
          <a:xfrm>
            <a:off x="1562100" y="2822029"/>
            <a:ext cx="93344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i utbildar ett antal föräldrar/övriga vuxna på en FU1-utbildning (ger behörighet att sitta funktionär U12-U15). 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5FABB36A-DD48-7A0A-A3FF-9805DBDA1574}"/>
              </a:ext>
            </a:extLst>
          </p:cNvPr>
          <p:cNvSpPr txBox="1"/>
          <p:nvPr/>
        </p:nvSpPr>
        <p:spPr>
          <a:xfrm>
            <a:off x="1512499" y="3768698"/>
            <a:ext cx="85915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U1 utbildning kan genomföras i den egna föreningen eller genom att gå en FU1-utbilnding som förbundet arrangerar. 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2634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B9DDA6D-83C5-7E7A-F380-5DF4F34281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9DDA6D-83C5-7E7A-F380-5DF4F3428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32BBD0-66C2-08DF-284F-837921902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950" y="536576"/>
            <a:ext cx="7399338" cy="517784"/>
          </a:xfrm>
        </p:spPr>
        <p:txBody>
          <a:bodyPr vert="horz"/>
          <a:lstStyle/>
          <a:p>
            <a:r>
              <a:rPr lang="sv-SE" dirty="0"/>
              <a:t>4. Elektroniskt matchprotokoll (EMP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302012D-DB82-5B9C-AA84-84662E42C2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3671" y="1431791"/>
            <a:ext cx="3446533" cy="470302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D54342C-BC34-5692-B860-778FE368F4A9}"/>
              </a:ext>
            </a:extLst>
          </p:cNvPr>
          <p:cNvSpPr/>
          <p:nvPr/>
        </p:nvSpPr>
        <p:spPr>
          <a:xfrm>
            <a:off x="11139770" y="74211"/>
            <a:ext cx="930303" cy="4850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nerbol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-12 april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F96C35B-D617-3B2C-BFB8-26194ACA47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6131" y="2448451"/>
            <a:ext cx="2748285" cy="155667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05FB6AF-34B0-9008-E68C-A2D8B3B2D7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14549" y="2448451"/>
            <a:ext cx="2526639" cy="165228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9938720-7FD4-11E5-BED2-8F156CA44039}"/>
              </a:ext>
            </a:extLst>
          </p:cNvPr>
          <p:cNvSpPr txBox="1"/>
          <p:nvPr/>
        </p:nvSpPr>
        <p:spPr>
          <a:xfrm>
            <a:off x="734575" y="4100740"/>
            <a:ext cx="2071396" cy="3099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9 hemmamatch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50FA61F-638C-6F46-0E1B-56B3FA1632FB}"/>
              </a:ext>
            </a:extLst>
          </p:cNvPr>
          <p:cNvSpPr txBox="1"/>
          <p:nvPr/>
        </p:nvSpPr>
        <p:spPr>
          <a:xfrm>
            <a:off x="4178346" y="4100740"/>
            <a:ext cx="2462842" cy="6690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4 hemmaarrangemang (upp till tre EMP-matcher vid tillfälle, även gästande lag)</a:t>
            </a:r>
          </a:p>
        </p:txBody>
      </p:sp>
    </p:spTree>
    <p:extLst>
      <p:ext uri="{BB962C8B-B14F-4D97-AF65-F5344CB8AC3E}">
        <p14:creationId xmlns:p14="http://schemas.microsoft.com/office/powerpoint/2010/main" val="499274480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474C8D-DF2C-410F-1562-1BE4A77A5A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474C8D-DF2C-410F-1562-1BE4A77A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FAFC99-706E-6FAD-44B3-B80139B4C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4859" y="305756"/>
            <a:ext cx="7399338" cy="466602"/>
          </a:xfrm>
        </p:spPr>
        <p:txBody>
          <a:bodyPr vert="horz"/>
          <a:lstStyle/>
          <a:p>
            <a:r>
              <a:rPr lang="sv-SE" dirty="0"/>
              <a:t>5. Spelarkonto status September 202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A6BC4E-6A25-42FD-D363-D4DF4427BA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0005" y="1625684"/>
            <a:ext cx="6586358" cy="32436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CB0ED4-C434-0E6F-D90B-224973D242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20201" y="1078322"/>
            <a:ext cx="4016088" cy="503725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6D433B0-B8D0-9434-D184-17B1B5F16EAB}"/>
              </a:ext>
            </a:extLst>
          </p:cNvPr>
          <p:cNvSpPr txBox="1"/>
          <p:nvPr/>
        </p:nvSpPr>
        <p:spPr>
          <a:xfrm>
            <a:off x="467585" y="5353057"/>
            <a:ext cx="5924939" cy="3370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-&gt;&gt; Lägger upp dokumenten på laget.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6D43E07-FACB-E283-7242-7BF9009346F2}"/>
              </a:ext>
            </a:extLst>
          </p:cNvPr>
          <p:cNvSpPr/>
          <p:nvPr/>
        </p:nvSpPr>
        <p:spPr>
          <a:xfrm>
            <a:off x="11139770" y="74211"/>
            <a:ext cx="930303" cy="4850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nerbol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-12 april)</a:t>
            </a:r>
          </a:p>
        </p:txBody>
      </p:sp>
    </p:spTree>
    <p:extLst>
      <p:ext uri="{BB962C8B-B14F-4D97-AF65-F5344CB8AC3E}">
        <p14:creationId xmlns:p14="http://schemas.microsoft.com/office/powerpoint/2010/main" val="4152809423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4030C7D-C755-59DF-A9A3-FBCC71B182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030C7D-C755-59DF-A9A3-FBCC71B18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E9D524C-5D1B-C7D9-9C8A-10F15B848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4948" y="234734"/>
            <a:ext cx="4992271" cy="635277"/>
          </a:xfrm>
        </p:spPr>
        <p:txBody>
          <a:bodyPr vert="horz"/>
          <a:lstStyle/>
          <a:p>
            <a:r>
              <a:rPr lang="sv-SE" dirty="0"/>
              <a:t>6. Föräldrar 25/2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FE18CC-D135-1A84-BB04-D54561E2D38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0187" y="1558493"/>
            <a:ext cx="8964394" cy="4159250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sv-SE" dirty="0"/>
              <a:t>Lottansvarig - Sahar (Eltons mamma)</a:t>
            </a:r>
          </a:p>
          <a:p>
            <a:pPr marL="457200" indent="-457200">
              <a:buAutoNum type="arabicPeriod"/>
            </a:pPr>
            <a:r>
              <a:rPr lang="sv-SE" dirty="0"/>
              <a:t>Försäljning – </a:t>
            </a:r>
            <a:r>
              <a:rPr lang="sv-SE"/>
              <a:t>Anna &amp; Isabell (Axels &amp; Lukas mamma</a:t>
            </a:r>
            <a:r>
              <a:rPr lang="sv-SE" dirty="0"/>
              <a:t>)</a:t>
            </a:r>
          </a:p>
          <a:p>
            <a:pPr marL="457200" indent="-457200">
              <a:buAutoNum type="arabicPeriod"/>
            </a:pPr>
            <a:r>
              <a:rPr lang="sv-SE" dirty="0"/>
              <a:t>Minst 1 st Hall- och caféansvarig – Magnus (Noahs pappa)</a:t>
            </a:r>
          </a:p>
          <a:p>
            <a:pPr marL="457200" indent="-457200">
              <a:buAutoNum type="arabicPeriod"/>
            </a:pPr>
            <a:r>
              <a:rPr lang="sv-SE" dirty="0"/>
              <a:t>Minst 1 st Norden Cup-ansvarig – Linda (Charlies mamma)</a:t>
            </a:r>
          </a:p>
        </p:txBody>
      </p:sp>
      <p:pic>
        <p:nvPicPr>
          <p:cNvPr id="11" name="Bildobjekt 1">
            <a:extLst>
              <a:ext uri="{FF2B5EF4-FFF2-40B4-BE49-F238E27FC236}">
                <a16:creationId xmlns:a16="http://schemas.microsoft.com/office/drawing/2014/main" id="{7040CD09-A424-D748-C477-A509191D61C9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944" y="105346"/>
            <a:ext cx="1106424" cy="113823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F3E436E-A74F-7854-EEC2-40EED489EFDD}"/>
              </a:ext>
            </a:extLst>
          </p:cNvPr>
          <p:cNvSpPr/>
          <p:nvPr/>
        </p:nvSpPr>
        <p:spPr>
          <a:xfrm>
            <a:off x="10963650" y="74211"/>
            <a:ext cx="1106424" cy="1302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nerbol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-12 april)</a:t>
            </a:r>
          </a:p>
        </p:txBody>
      </p:sp>
    </p:spTree>
    <p:extLst>
      <p:ext uri="{BB962C8B-B14F-4D97-AF65-F5344CB8AC3E}">
        <p14:creationId xmlns:p14="http://schemas.microsoft.com/office/powerpoint/2010/main" val="2920137932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BFEC4C-ED80-7849-F1CC-6C6D880438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BFEC4C-ED80-7849-F1CC-6C6D88043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7D98602-E0BE-1BE9-8236-68106A205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7369" y="316725"/>
            <a:ext cx="7399338" cy="741719"/>
          </a:xfrm>
        </p:spPr>
        <p:txBody>
          <a:bodyPr vert="horz"/>
          <a:lstStyle/>
          <a:p>
            <a:r>
              <a:rPr lang="sv-SE" dirty="0"/>
              <a:t>7. Lagkassa &amp; ny försäljning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0953EC-4BDF-8840-57E9-EF862922303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364772" y="1510069"/>
            <a:ext cx="3189067" cy="3982752"/>
          </a:xfrm>
          <a:ln>
            <a:noFill/>
          </a:ln>
        </p:spPr>
        <p:txBody>
          <a:bodyPr/>
          <a:lstStyle/>
          <a:p>
            <a:r>
              <a:rPr lang="sv-SE" dirty="0"/>
              <a:t>Saldo lagkassa:  10124:-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503082A-BC6F-B64A-AE3A-34E408B221A4}"/>
              </a:ext>
            </a:extLst>
          </p:cNvPr>
          <p:cNvSpPr txBox="1">
            <a:spLocks/>
          </p:cNvSpPr>
          <p:nvPr/>
        </p:nvSpPr>
        <p:spPr>
          <a:xfrm>
            <a:off x="6689543" y="1432098"/>
            <a:ext cx="3189068" cy="406072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23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None/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914423" rtl="0" eaLnBrk="1" latinLnBrk="0" hangingPunct="1">
              <a:lnSpc>
                <a:spcPct val="90000"/>
              </a:lnSpc>
              <a:spcBef>
                <a:spcPts val="900"/>
              </a:spcBef>
              <a:buSzPct val="90000"/>
              <a:buFont typeface="Calibri Light" panose="020F0302020204030204" pitchFamily="34" charset="0"/>
              <a:buChar char="•"/>
              <a:tabLst>
                <a:tab pos="342000" algn="l"/>
              </a:tabLst>
              <a:defRPr lang="en-US" sz="240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684000" indent="-342000" algn="l" defTabSz="914423" rtl="0" eaLnBrk="1" latinLnBrk="0" hangingPunct="1">
              <a:lnSpc>
                <a:spcPct val="90000"/>
              </a:lnSpc>
              <a:spcBef>
                <a:spcPts val="400"/>
              </a:spcBef>
              <a:buFont typeface="Calibri Light" panose="020F0302020204030204" pitchFamily="34" charset="0"/>
              <a:buChar char="–"/>
              <a:tabLst>
                <a:tab pos="684000" algn="l"/>
              </a:tabLst>
              <a:defRPr lang="en-US" sz="200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026000" indent="-342000" algn="l" defTabSz="914423" rtl="0" eaLnBrk="1" latinLnBrk="0" hangingPunct="1">
              <a:lnSpc>
                <a:spcPct val="90000"/>
              </a:lnSpc>
              <a:spcBef>
                <a:spcPts val="0"/>
              </a:spcBef>
              <a:buFont typeface="Calibri Light" panose="020F0302020204030204" pitchFamily="34" charset="0"/>
              <a:buChar char="–"/>
              <a:tabLst>
                <a:tab pos="1026000" algn="l"/>
              </a:tabLst>
              <a:defRPr lang="en-US" sz="180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1368000" indent="-342000" algn="l" defTabSz="914423" rtl="0" eaLnBrk="1" latinLnBrk="0" hangingPunct="1">
              <a:lnSpc>
                <a:spcPct val="90000"/>
              </a:lnSpc>
              <a:spcBef>
                <a:spcPts val="0"/>
              </a:spcBef>
              <a:buFont typeface="Calibri Light" panose="020F0302020204030204" pitchFamily="34" charset="0"/>
              <a:buChar char="–"/>
              <a:tabLst>
                <a:tab pos="1368000" algn="l"/>
              </a:tabLst>
              <a:defRPr lang="en-GB" sz="160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63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y försäljning?: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2A66EFF-07F3-3DE3-A0AE-C531D5A246AA}"/>
              </a:ext>
            </a:extLst>
          </p:cNvPr>
          <p:cNvSpPr/>
          <p:nvPr/>
        </p:nvSpPr>
        <p:spPr>
          <a:xfrm>
            <a:off x="10565264" y="3186485"/>
            <a:ext cx="930303" cy="4850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örsäljning Newbod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616E30-FA5F-ED90-AE3F-45FA9ABB05C8}"/>
              </a:ext>
            </a:extLst>
          </p:cNvPr>
          <p:cNvSpPr/>
          <p:nvPr/>
        </p:nvSpPr>
        <p:spPr>
          <a:xfrm>
            <a:off x="10565264" y="3720543"/>
            <a:ext cx="930303" cy="4850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örsäljning kako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3676DE-B1A8-55AF-B982-E16397B03706}"/>
              </a:ext>
            </a:extLst>
          </p:cNvPr>
          <p:cNvSpPr/>
          <p:nvPr/>
        </p:nvSpPr>
        <p:spPr>
          <a:xfrm>
            <a:off x="7343803" y="3385210"/>
            <a:ext cx="1283362" cy="5745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afé hemmamatcher Angere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1896B4-6951-D8BE-78E5-AFDC52D7FB87}"/>
              </a:ext>
            </a:extLst>
          </p:cNvPr>
          <p:cNvSpPr/>
          <p:nvPr/>
        </p:nvSpPr>
        <p:spPr>
          <a:xfrm>
            <a:off x="10565264" y="4254601"/>
            <a:ext cx="930303" cy="4850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XX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D6FBF8-2443-B41F-2DA9-75AF65329A63}"/>
              </a:ext>
            </a:extLst>
          </p:cNvPr>
          <p:cNvSpPr/>
          <p:nvPr/>
        </p:nvSpPr>
        <p:spPr>
          <a:xfrm>
            <a:off x="11139770" y="74211"/>
            <a:ext cx="930303" cy="4850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nerbol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-12 april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DDE0D4-A9F8-A831-B9CD-C6261C6A8FCE}"/>
              </a:ext>
            </a:extLst>
          </p:cNvPr>
          <p:cNvSpPr/>
          <p:nvPr/>
        </p:nvSpPr>
        <p:spPr>
          <a:xfrm>
            <a:off x="7353775" y="2526527"/>
            <a:ext cx="1217732" cy="5745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hips</a:t>
            </a:r>
          </a:p>
        </p:txBody>
      </p:sp>
    </p:spTree>
    <p:extLst>
      <p:ext uri="{BB962C8B-B14F-4D97-AF65-F5344CB8AC3E}">
        <p14:creationId xmlns:p14="http://schemas.microsoft.com/office/powerpoint/2010/main" val="1798333633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F3BA862-45E2-EB49-0A60-834E459DE1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3BA862-45E2-EB49-0A60-834E459DE1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Content Placeholder 4" descr="Questions outline">
            <a:extLst>
              <a:ext uri="{FF2B5EF4-FFF2-40B4-BE49-F238E27FC236}">
                <a16:creationId xmlns:a16="http://schemas.microsoft.com/office/drawing/2014/main" id="{5F4CA21C-310E-74BE-EB49-58B43B35C685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04839" y="1459143"/>
            <a:ext cx="4412202" cy="4412202"/>
          </a:xfrm>
        </p:spPr>
      </p:pic>
      <p:pic>
        <p:nvPicPr>
          <p:cNvPr id="8" name="Picture 7" descr="Question mark on green pastel background">
            <a:extLst>
              <a:ext uri="{FF2B5EF4-FFF2-40B4-BE49-F238E27FC236}">
                <a16:creationId xmlns:a16="http://schemas.microsoft.com/office/drawing/2014/main" id="{BDF87E15-5764-6A5E-E221-7F26D80DE6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269949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70BE30-F6A1-A483-9815-33BEAAD81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70BE30-F6A1-A483-9815-33BEAAD81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9505D79-E165-480F-7A6E-FA72DABE614C}"/>
              </a:ext>
            </a:extLst>
          </p:cNvPr>
          <p:cNvCxnSpPr>
            <a:cxnSpLocks/>
          </p:cNvCxnSpPr>
          <p:nvPr/>
        </p:nvCxnSpPr>
        <p:spPr>
          <a:xfrm>
            <a:off x="1715869" y="3833856"/>
            <a:ext cx="0" cy="12085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4E1E3133-5DF0-F31B-3F30-62059810EA5A}"/>
              </a:ext>
            </a:extLst>
          </p:cNvPr>
          <p:cNvSpPr/>
          <p:nvPr/>
        </p:nvSpPr>
        <p:spPr>
          <a:xfrm>
            <a:off x="95417" y="2736572"/>
            <a:ext cx="1361809" cy="1088005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ug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C544DF35-1AC1-C564-5E20-B04A65406E0B}"/>
              </a:ext>
            </a:extLst>
          </p:cNvPr>
          <p:cNvSpPr/>
          <p:nvPr/>
        </p:nvSpPr>
        <p:spPr>
          <a:xfrm>
            <a:off x="938258" y="2736572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ept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A08D59DA-61E3-551B-2864-A2F67A487C5D}"/>
              </a:ext>
            </a:extLst>
          </p:cNvPr>
          <p:cNvSpPr/>
          <p:nvPr/>
        </p:nvSpPr>
        <p:spPr>
          <a:xfrm>
            <a:off x="1916261" y="2736572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kt</a:t>
            </a: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C638EE8A-CCB7-1870-67C7-5480F5E13803}"/>
              </a:ext>
            </a:extLst>
          </p:cNvPr>
          <p:cNvSpPr/>
          <p:nvPr/>
        </p:nvSpPr>
        <p:spPr>
          <a:xfrm>
            <a:off x="2896916" y="2735245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ov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08151325-AC31-9A6D-552A-4BF35226AE09}"/>
              </a:ext>
            </a:extLst>
          </p:cNvPr>
          <p:cNvSpPr/>
          <p:nvPr/>
        </p:nvSpPr>
        <p:spPr>
          <a:xfrm>
            <a:off x="3872289" y="2735245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ec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1238283C-05D9-BE0C-678E-F8E34FDFB1E4}"/>
              </a:ext>
            </a:extLst>
          </p:cNvPr>
          <p:cNvSpPr/>
          <p:nvPr/>
        </p:nvSpPr>
        <p:spPr>
          <a:xfrm>
            <a:off x="4842347" y="2736572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Jan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A34E10BC-DE1C-D5F4-1F43-07A8FC9279BB}"/>
              </a:ext>
            </a:extLst>
          </p:cNvPr>
          <p:cNvSpPr/>
          <p:nvPr/>
        </p:nvSpPr>
        <p:spPr>
          <a:xfrm>
            <a:off x="6798366" y="2727294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ar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58EA1863-F034-D0F9-954D-E16F8A0B700A}"/>
              </a:ext>
            </a:extLst>
          </p:cNvPr>
          <p:cNvSpPr/>
          <p:nvPr/>
        </p:nvSpPr>
        <p:spPr>
          <a:xfrm>
            <a:off x="7780350" y="2727294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pril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CE037C40-9E05-C2D1-0BE5-031CE53EFB79}"/>
              </a:ext>
            </a:extLst>
          </p:cNvPr>
          <p:cNvSpPr/>
          <p:nvPr/>
        </p:nvSpPr>
        <p:spPr>
          <a:xfrm>
            <a:off x="8746439" y="2727294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aj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5CBA4B37-5C7C-7FFB-9BD9-BB2CA74DB0F2}"/>
              </a:ext>
            </a:extLst>
          </p:cNvPr>
          <p:cNvSpPr/>
          <p:nvPr/>
        </p:nvSpPr>
        <p:spPr>
          <a:xfrm>
            <a:off x="9727093" y="2728619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Juni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C6ED5BB6-A73A-A0B5-8265-5DA7D2D16C39}"/>
              </a:ext>
            </a:extLst>
          </p:cNvPr>
          <p:cNvSpPr/>
          <p:nvPr/>
        </p:nvSpPr>
        <p:spPr>
          <a:xfrm>
            <a:off x="5829635" y="2735245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eb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E90B7BFF-EB5C-009F-B037-CA69169D3824}"/>
              </a:ext>
            </a:extLst>
          </p:cNvPr>
          <p:cNvSpPr/>
          <p:nvPr/>
        </p:nvSpPr>
        <p:spPr>
          <a:xfrm>
            <a:off x="10709077" y="2727293"/>
            <a:ext cx="1492195" cy="108800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Juli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1DE7FEE-2BA2-1CE0-460A-A14C9DFFBB19}"/>
              </a:ext>
            </a:extLst>
          </p:cNvPr>
          <p:cNvSpPr/>
          <p:nvPr/>
        </p:nvSpPr>
        <p:spPr>
          <a:xfrm>
            <a:off x="286256" y="1637967"/>
            <a:ext cx="930303" cy="48502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räningsläger Borgstena (29-31)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76CDA3D-B862-A8CC-7158-693D6A169648}"/>
              </a:ext>
            </a:extLst>
          </p:cNvPr>
          <p:cNvCxnSpPr>
            <a:cxnSpLocks/>
            <a:stCxn id="20" idx="2"/>
          </p:cNvCxnSpPr>
          <p:nvPr/>
        </p:nvCxnSpPr>
        <p:spPr>
          <a:xfrm>
            <a:off x="751408" y="2122996"/>
            <a:ext cx="7355" cy="6135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20F79EB-0DC3-1C18-954F-E4CE86FC7A14}"/>
              </a:ext>
            </a:extLst>
          </p:cNvPr>
          <p:cNvSpPr/>
          <p:nvPr/>
        </p:nvSpPr>
        <p:spPr>
          <a:xfrm>
            <a:off x="1090663" y="4438153"/>
            <a:ext cx="930303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GBG Cup (12-14 sept)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C155ED4-81AB-559E-D2BB-056DCF800111}"/>
              </a:ext>
            </a:extLst>
          </p:cNvPr>
          <p:cNvCxnSpPr>
            <a:cxnSpLocks/>
          </p:cNvCxnSpPr>
          <p:nvPr/>
        </p:nvCxnSpPr>
        <p:spPr>
          <a:xfrm>
            <a:off x="1696054" y="3823250"/>
            <a:ext cx="7355" cy="6135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C44656F0-36C6-E911-4117-1A546D116FD2}"/>
              </a:ext>
            </a:extLst>
          </p:cNvPr>
          <p:cNvSpPr/>
          <p:nvPr/>
        </p:nvSpPr>
        <p:spPr>
          <a:xfrm>
            <a:off x="2415862" y="1628688"/>
            <a:ext cx="930303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kadevi Cu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(31 okt-2 nov)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ACA0226-3299-AFC3-2AE1-F4783CA4DB20}"/>
              </a:ext>
            </a:extLst>
          </p:cNvPr>
          <p:cNvCxnSpPr>
            <a:cxnSpLocks/>
            <a:stCxn id="27" idx="2"/>
          </p:cNvCxnSpPr>
          <p:nvPr/>
        </p:nvCxnSpPr>
        <p:spPr>
          <a:xfrm>
            <a:off x="2881014" y="2113717"/>
            <a:ext cx="7355" cy="6135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63CA2507-08D0-C595-3D68-D8AFE789E6D2}"/>
              </a:ext>
            </a:extLst>
          </p:cNvPr>
          <p:cNvSpPr/>
          <p:nvPr/>
        </p:nvSpPr>
        <p:spPr>
          <a:xfrm>
            <a:off x="4311600" y="4446105"/>
            <a:ext cx="930303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orden Cup (27-30 dec)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5F1FA14-AFF7-903E-722E-94A7B78084E1}"/>
              </a:ext>
            </a:extLst>
          </p:cNvPr>
          <p:cNvCxnSpPr>
            <a:cxnSpLocks/>
          </p:cNvCxnSpPr>
          <p:nvPr/>
        </p:nvCxnSpPr>
        <p:spPr>
          <a:xfrm>
            <a:off x="4712100" y="3823250"/>
            <a:ext cx="7355" cy="6135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2A61B68F-FB4E-340D-7DE4-CF1796A610EA}"/>
              </a:ext>
            </a:extLst>
          </p:cNvPr>
          <p:cNvSpPr/>
          <p:nvPr/>
        </p:nvSpPr>
        <p:spPr>
          <a:xfrm>
            <a:off x="10571256" y="4446105"/>
            <a:ext cx="930303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artille Cup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06A4D-78C6-5CAA-DE53-24A5B4C79679}"/>
              </a:ext>
            </a:extLst>
          </p:cNvPr>
          <p:cNvCxnSpPr>
            <a:cxnSpLocks/>
          </p:cNvCxnSpPr>
          <p:nvPr/>
        </p:nvCxnSpPr>
        <p:spPr>
          <a:xfrm>
            <a:off x="10971756" y="3823250"/>
            <a:ext cx="7355" cy="6135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E0EB3688-F8F1-14E6-CAAF-307FF4CCEBF8}"/>
              </a:ext>
            </a:extLst>
          </p:cNvPr>
          <p:cNvSpPr/>
          <p:nvPr/>
        </p:nvSpPr>
        <p:spPr>
          <a:xfrm>
            <a:off x="9989484" y="5711689"/>
            <a:ext cx="930303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ölndalsspele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61B9BAA-648A-1DB9-1FBE-F9E7C63770FF}"/>
              </a:ext>
            </a:extLst>
          </p:cNvPr>
          <p:cNvSpPr/>
          <p:nvPr/>
        </p:nvSpPr>
        <p:spPr>
          <a:xfrm>
            <a:off x="9989484" y="5124617"/>
            <a:ext cx="930303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ohus Cup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BCB7873-F1CA-BF13-15F5-ACB4D4C767F3}"/>
              </a:ext>
            </a:extLst>
          </p:cNvPr>
          <p:cNvSpPr/>
          <p:nvPr/>
        </p:nvSpPr>
        <p:spPr>
          <a:xfrm>
            <a:off x="7782994" y="1702906"/>
            <a:ext cx="930303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nerbol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-12 april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6CEE9C1-8D59-7D6B-30E2-982E86072249}"/>
              </a:ext>
            </a:extLst>
          </p:cNvPr>
          <p:cNvSpPr/>
          <p:nvPr/>
        </p:nvSpPr>
        <p:spPr>
          <a:xfrm>
            <a:off x="11036406" y="5711688"/>
            <a:ext cx="930303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Junicupe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7FC54C5-EFFA-A203-555D-1653109C0382}"/>
              </a:ext>
            </a:extLst>
          </p:cNvPr>
          <p:cNvSpPr/>
          <p:nvPr/>
        </p:nvSpPr>
        <p:spPr>
          <a:xfrm>
            <a:off x="11036407" y="6298760"/>
            <a:ext cx="930303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otatiscupe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15E886A-437B-A34B-2FF7-8CB6D90FDE84}"/>
              </a:ext>
            </a:extLst>
          </p:cNvPr>
          <p:cNvSpPr/>
          <p:nvPr/>
        </p:nvSpPr>
        <p:spPr>
          <a:xfrm>
            <a:off x="11036405" y="5124617"/>
            <a:ext cx="930303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rsta-Blixten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ED5F195-1980-C38F-4D0E-A4F875BED91E}"/>
              </a:ext>
            </a:extLst>
          </p:cNvPr>
          <p:cNvCxnSpPr>
            <a:cxnSpLocks/>
            <a:endCxn id="15" idx="0"/>
          </p:cNvCxnSpPr>
          <p:nvPr/>
        </p:nvCxnSpPr>
        <p:spPr>
          <a:xfrm>
            <a:off x="8251770" y="2187935"/>
            <a:ext cx="2676" cy="5393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EBE35C7C-F25A-A8F4-CE79-C5AF3875AC43}"/>
              </a:ext>
            </a:extLst>
          </p:cNvPr>
          <p:cNvSpPr/>
          <p:nvPr/>
        </p:nvSpPr>
        <p:spPr>
          <a:xfrm>
            <a:off x="1250717" y="973870"/>
            <a:ext cx="930303" cy="4850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öräldramöt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7A6E9A7-2EC2-A49C-DA7D-F136B918CBCC}"/>
              </a:ext>
            </a:extLst>
          </p:cNvPr>
          <p:cNvSpPr/>
          <p:nvPr/>
        </p:nvSpPr>
        <p:spPr>
          <a:xfrm>
            <a:off x="1458718" y="1935476"/>
            <a:ext cx="930303" cy="4850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MP-utbildning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49D4289-00C1-F1D4-3F39-B66754047B6E}"/>
              </a:ext>
            </a:extLst>
          </p:cNvPr>
          <p:cNvSpPr/>
          <p:nvPr/>
        </p:nvSpPr>
        <p:spPr>
          <a:xfrm>
            <a:off x="8795457" y="5124617"/>
            <a:ext cx="930303" cy="4850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örsäljning Newbody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23DB156-1A55-DDF0-AD46-8AE0BA22FE44}"/>
              </a:ext>
            </a:extLst>
          </p:cNvPr>
          <p:cNvSpPr/>
          <p:nvPr/>
        </p:nvSpPr>
        <p:spPr>
          <a:xfrm>
            <a:off x="8795457" y="5658675"/>
            <a:ext cx="930303" cy="4850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örsäljning kakor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6942DCE-27FA-011B-0CDD-815498CD0D25}"/>
              </a:ext>
            </a:extLst>
          </p:cNvPr>
          <p:cNvSpPr/>
          <p:nvPr/>
        </p:nvSpPr>
        <p:spPr>
          <a:xfrm>
            <a:off x="8795457" y="6217919"/>
            <a:ext cx="930303" cy="4850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afé hemmamatcher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B964E7E-6675-E435-FBA7-F7CB7A9A224E}"/>
              </a:ext>
            </a:extLst>
          </p:cNvPr>
          <p:cNvCxnSpPr>
            <a:cxnSpLocks/>
          </p:cNvCxnSpPr>
          <p:nvPr/>
        </p:nvCxnSpPr>
        <p:spPr>
          <a:xfrm flipH="1">
            <a:off x="1692464" y="1477614"/>
            <a:ext cx="13068" cy="12589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A5CE9CE-ED80-3FD5-18E8-C4D0B07E6E90}"/>
              </a:ext>
            </a:extLst>
          </p:cNvPr>
          <p:cNvCxnSpPr>
            <a:cxnSpLocks/>
          </p:cNvCxnSpPr>
          <p:nvPr/>
        </p:nvCxnSpPr>
        <p:spPr>
          <a:xfrm>
            <a:off x="1815481" y="2415866"/>
            <a:ext cx="7355" cy="3193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66531375-5D88-F1FA-0DA7-774EF744531B}"/>
              </a:ext>
            </a:extLst>
          </p:cNvPr>
          <p:cNvSpPr/>
          <p:nvPr/>
        </p:nvSpPr>
        <p:spPr>
          <a:xfrm>
            <a:off x="11139770" y="74211"/>
            <a:ext cx="930303" cy="4850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nerbol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-12 april)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41CA80D9-F03D-DE5C-8427-86FC948B5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442" y="132250"/>
            <a:ext cx="7399338" cy="577973"/>
          </a:xfrm>
        </p:spPr>
        <p:txBody>
          <a:bodyPr vert="horz"/>
          <a:lstStyle/>
          <a:p>
            <a:r>
              <a:rPr lang="en-GB" dirty="0" err="1"/>
              <a:t>Säsongsplanering</a:t>
            </a:r>
            <a:r>
              <a:rPr lang="en-GB" dirty="0"/>
              <a:t> 25/26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4D40C06-35F2-5636-6EA4-79A66B0F2584}"/>
              </a:ext>
            </a:extLst>
          </p:cNvPr>
          <p:cNvSpPr/>
          <p:nvPr/>
        </p:nvSpPr>
        <p:spPr>
          <a:xfrm>
            <a:off x="1228504" y="5051729"/>
            <a:ext cx="1122438" cy="485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eldag Ale träningsmatcher (21 sept)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2376027-D3C9-3865-4C05-2A8D560A4A4F}"/>
              </a:ext>
            </a:extLst>
          </p:cNvPr>
          <p:cNvSpPr/>
          <p:nvPr/>
        </p:nvSpPr>
        <p:spPr>
          <a:xfrm>
            <a:off x="5700696" y="1440459"/>
            <a:ext cx="789172" cy="69971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andbolls-camp (Sportlov)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2F9983E-DAB7-BD1A-C460-625184C37631}"/>
              </a:ext>
            </a:extLst>
          </p:cNvPr>
          <p:cNvCxnSpPr>
            <a:cxnSpLocks/>
            <a:stCxn id="2" idx="4"/>
          </p:cNvCxnSpPr>
          <p:nvPr/>
        </p:nvCxnSpPr>
        <p:spPr>
          <a:xfrm>
            <a:off x="6095282" y="2140174"/>
            <a:ext cx="718" cy="5704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BD8F4A9A-0B90-A8E5-782B-2D7E26A31997}"/>
              </a:ext>
            </a:extLst>
          </p:cNvPr>
          <p:cNvSpPr/>
          <p:nvPr/>
        </p:nvSpPr>
        <p:spPr>
          <a:xfrm>
            <a:off x="7761128" y="4380503"/>
            <a:ext cx="789172" cy="69971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andbolls-camp (Påsklov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B497A0-1403-C4A3-D560-31E6486072AB}"/>
              </a:ext>
            </a:extLst>
          </p:cNvPr>
          <p:cNvCxnSpPr>
            <a:cxnSpLocks/>
          </p:cNvCxnSpPr>
          <p:nvPr/>
        </p:nvCxnSpPr>
        <p:spPr>
          <a:xfrm>
            <a:off x="8167043" y="3811326"/>
            <a:ext cx="718" cy="5704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D97AD235-C4FB-879D-9F35-370C57D226A4}"/>
              </a:ext>
            </a:extLst>
          </p:cNvPr>
          <p:cNvSpPr/>
          <p:nvPr/>
        </p:nvSpPr>
        <p:spPr>
          <a:xfrm>
            <a:off x="9657159" y="1452765"/>
            <a:ext cx="789172" cy="69971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andbolls-camp (Sommar)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1D97C9F-08A8-915F-68B5-387B7D8B3D5C}"/>
              </a:ext>
            </a:extLst>
          </p:cNvPr>
          <p:cNvCxnSpPr>
            <a:cxnSpLocks/>
            <a:stCxn id="21" idx="4"/>
          </p:cNvCxnSpPr>
          <p:nvPr/>
        </p:nvCxnSpPr>
        <p:spPr>
          <a:xfrm>
            <a:off x="10051745" y="2152480"/>
            <a:ext cx="718" cy="5704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07E7B86-B6AC-14BF-986D-3B2C89740072}"/>
              </a:ext>
            </a:extLst>
          </p:cNvPr>
          <p:cNvSpPr/>
          <p:nvPr/>
        </p:nvSpPr>
        <p:spPr>
          <a:xfrm>
            <a:off x="8643068" y="5042450"/>
            <a:ext cx="3427005" cy="1815550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CC02F07-A6EE-92A6-C5A8-3E713D049A19}"/>
              </a:ext>
            </a:extLst>
          </p:cNvPr>
          <p:cNvSpPr/>
          <p:nvPr/>
        </p:nvSpPr>
        <p:spPr>
          <a:xfrm>
            <a:off x="10002741" y="6217919"/>
            <a:ext cx="930303" cy="5658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e A-lagsmatcher/A-pojk..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963485F-284A-B8F8-9AA4-8F93ECB4E37B}"/>
              </a:ext>
            </a:extLst>
          </p:cNvPr>
          <p:cNvSpPr/>
          <p:nvPr/>
        </p:nvSpPr>
        <p:spPr>
          <a:xfrm>
            <a:off x="2258198" y="4375538"/>
            <a:ext cx="789172" cy="69971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andbolls-camp (Höstlov)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1743A51-9A5E-C527-1C68-AFAF642F3773}"/>
              </a:ext>
            </a:extLst>
          </p:cNvPr>
          <p:cNvCxnSpPr>
            <a:cxnSpLocks/>
          </p:cNvCxnSpPr>
          <p:nvPr/>
        </p:nvCxnSpPr>
        <p:spPr>
          <a:xfrm>
            <a:off x="2664113" y="3806361"/>
            <a:ext cx="718" cy="5704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70587E4-B7D7-ADCF-C845-7E4AE6460855}"/>
              </a:ext>
            </a:extLst>
          </p:cNvPr>
          <p:cNvCxnSpPr>
            <a:cxnSpLocks/>
          </p:cNvCxnSpPr>
          <p:nvPr/>
        </p:nvCxnSpPr>
        <p:spPr>
          <a:xfrm>
            <a:off x="1707800" y="1457791"/>
            <a:ext cx="0" cy="3986511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1BDD3FD-EC55-7439-C032-7136CA1CD056}"/>
              </a:ext>
            </a:extLst>
          </p:cNvPr>
          <p:cNvCxnSpPr>
            <a:cxnSpLocks/>
            <a:stCxn id="7" idx="2"/>
          </p:cNvCxnSpPr>
          <p:nvPr/>
        </p:nvCxnSpPr>
        <p:spPr>
          <a:xfrm>
            <a:off x="2390357" y="3824577"/>
            <a:ext cx="28406" cy="2393342"/>
          </a:xfrm>
          <a:prstGeom prst="line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D353CC5B-8D91-13FC-E240-9EC3AA77B1F4}"/>
              </a:ext>
            </a:extLst>
          </p:cNvPr>
          <p:cNvSpPr txBox="1"/>
          <p:nvPr/>
        </p:nvSpPr>
        <p:spPr>
          <a:xfrm>
            <a:off x="1936899" y="6196717"/>
            <a:ext cx="2141115" cy="3370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srgbClr val="46962B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eriestar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01AA363-E42F-826E-980D-890868FA6D59}"/>
              </a:ext>
            </a:extLst>
          </p:cNvPr>
          <p:cNvSpPr txBox="1"/>
          <p:nvPr/>
        </p:nvSpPr>
        <p:spPr>
          <a:xfrm>
            <a:off x="3172632" y="6405046"/>
            <a:ext cx="5193455" cy="30316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dirty="0">
                <a:ln>
                  <a:noFill/>
                </a:ln>
                <a:solidFill>
                  <a:srgbClr val="0000F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bs: Bohus och GBG cup innebär obligatorisk extra lunchkostnad på ca 190:- för varje anmäld kille</a:t>
            </a:r>
          </a:p>
        </p:txBody>
      </p:sp>
    </p:spTree>
    <p:extLst>
      <p:ext uri="{BB962C8B-B14F-4D97-AF65-F5344CB8AC3E}">
        <p14:creationId xmlns:p14="http://schemas.microsoft.com/office/powerpoint/2010/main" val="2087477159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05D97C3-2F4E-52B9-A6A6-621276104B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5D97C3-2F4E-52B9-A6A6-621276104B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27BB5810-D625-507B-79AC-A06EC7A92B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095" y="48126"/>
            <a:ext cx="12035810" cy="6761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672837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45E0FB-4F23-BA2C-DF54-636571A973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2D69B3-DD53-188F-FD28-99B1306FA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2D69B3-DD53-188F-FD28-99B1306FA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3380208-5742-2BC2-5840-8489D780A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4696" y="86841"/>
            <a:ext cx="4471304" cy="696607"/>
          </a:xfrm>
        </p:spPr>
        <p:txBody>
          <a:bodyPr vert="horz"/>
          <a:lstStyle/>
          <a:p>
            <a:r>
              <a:rPr lang="sv-SE" dirty="0"/>
              <a:t>Spelarkort 2025, P201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2B1872-505E-1398-BDA4-7F98656ED8A5}"/>
              </a:ext>
            </a:extLst>
          </p:cNvPr>
          <p:cNvSpPr txBox="1"/>
          <p:nvPr/>
        </p:nvSpPr>
        <p:spPr>
          <a:xfrm>
            <a:off x="7409146" y="266638"/>
            <a:ext cx="3268618" cy="33701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amn: 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Kalle Svenss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1325A9-F4AD-34A5-F6E5-1C28DF80BD3E}"/>
              </a:ext>
            </a:extLst>
          </p:cNvPr>
          <p:cNvSpPr txBox="1"/>
          <p:nvPr/>
        </p:nvSpPr>
        <p:spPr>
          <a:xfrm>
            <a:off x="250368" y="1796143"/>
            <a:ext cx="6200765" cy="33021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Roligast med handbollen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: Fys och vara med kompisar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447660D-D85C-72DE-D6B6-679041A811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90594" y="188462"/>
            <a:ext cx="1204064" cy="145554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C1BF72D-CCB9-2A62-4715-3033D0FC2C9E}"/>
              </a:ext>
            </a:extLst>
          </p:cNvPr>
          <p:cNvSpPr txBox="1"/>
          <p:nvPr/>
        </p:nvSpPr>
        <p:spPr>
          <a:xfrm>
            <a:off x="250369" y="2328443"/>
            <a:ext cx="6200764" cy="33021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ina två favoritpositioner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: Vänsterkant och linje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852829-EA59-95C1-F4FC-EC110DCF7BE2}"/>
              </a:ext>
            </a:extLst>
          </p:cNvPr>
          <p:cNvSpPr txBox="1"/>
          <p:nvPr/>
        </p:nvSpPr>
        <p:spPr>
          <a:xfrm>
            <a:off x="250368" y="2909550"/>
            <a:ext cx="6200763" cy="139390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re saker jag vill bli bättre omgång 1:</a:t>
            </a:r>
          </a:p>
          <a:p>
            <a:pPr marL="285750" marR="0" lvl="0" indent="-28575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ättre kantskott och sikta bättre</a:t>
            </a:r>
          </a:p>
          <a:p>
            <a:pPr marL="285750" marR="0" lvl="0" indent="-28575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ottagningar </a:t>
            </a:r>
          </a:p>
          <a:p>
            <a:pPr marL="285750" marR="0" lvl="0" indent="-28575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nabbhet/explosivitet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A950DEC-3F45-9619-FF0D-B589516D2245}"/>
              </a:ext>
            </a:extLst>
          </p:cNvPr>
          <p:cNvSpPr txBox="1"/>
          <p:nvPr/>
        </p:nvSpPr>
        <p:spPr>
          <a:xfrm>
            <a:off x="250369" y="4683933"/>
            <a:ext cx="6200762" cy="139390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ad jag ska göra föra att uppnå mina mål:</a:t>
            </a: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-      Vara med på frivillig söndagsträning och bara skjuta</a:t>
            </a:r>
          </a:p>
          <a:p>
            <a:pPr marL="285750" marR="0" lvl="0" indent="-28575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a med en kompis och passa/öva mottagningar på linje/M6 </a:t>
            </a:r>
          </a:p>
          <a:p>
            <a:pPr marL="285750" marR="0" lvl="0" indent="-28575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räna intervaller, benböj, upphopp och fotarbete 1 gång i veckan själv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F4DD82D-31EC-354C-3B90-4CA32692A5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066" y="188462"/>
            <a:ext cx="1109858" cy="1241536"/>
          </a:xfrm>
          <a:prstGeom prst="rect">
            <a:avLst/>
          </a:prstGeom>
        </p:spPr>
      </p:pic>
      <p:graphicFrame>
        <p:nvGraphicFramePr>
          <p:cNvPr id="6" name="Content Placeholder 9">
            <a:extLst>
              <a:ext uri="{FF2B5EF4-FFF2-40B4-BE49-F238E27FC236}">
                <a16:creationId xmlns:a16="http://schemas.microsoft.com/office/drawing/2014/main" id="{DA2AB0C5-F7DC-C62C-F6F1-C1240A4B44EE}"/>
              </a:ext>
            </a:extLst>
          </p:cNvPr>
          <p:cNvGraphicFramePr>
            <a:graphicFrameLocks/>
          </p:cNvGraphicFramePr>
          <p:nvPr/>
        </p:nvGraphicFramePr>
        <p:xfrm>
          <a:off x="6972665" y="2053531"/>
          <a:ext cx="4518232" cy="3337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29558">
                  <a:extLst>
                    <a:ext uri="{9D8B030D-6E8A-4147-A177-3AD203B41FA5}">
                      <a16:colId xmlns:a16="http://schemas.microsoft.com/office/drawing/2014/main" val="834838080"/>
                    </a:ext>
                  </a:extLst>
                </a:gridCol>
                <a:gridCol w="1129558">
                  <a:extLst>
                    <a:ext uri="{9D8B030D-6E8A-4147-A177-3AD203B41FA5}">
                      <a16:colId xmlns:a16="http://schemas.microsoft.com/office/drawing/2014/main" val="2153588682"/>
                    </a:ext>
                  </a:extLst>
                </a:gridCol>
                <a:gridCol w="1129558">
                  <a:extLst>
                    <a:ext uri="{9D8B030D-6E8A-4147-A177-3AD203B41FA5}">
                      <a16:colId xmlns:a16="http://schemas.microsoft.com/office/drawing/2014/main" val="1643553580"/>
                    </a:ext>
                  </a:extLst>
                </a:gridCol>
                <a:gridCol w="1129558">
                  <a:extLst>
                    <a:ext uri="{9D8B030D-6E8A-4147-A177-3AD203B41FA5}">
                      <a16:colId xmlns:a16="http://schemas.microsoft.com/office/drawing/2014/main" val="179765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sv-SE" sz="1100" b="1" dirty="0"/>
                        <a:t>Moment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1" dirty="0"/>
                        <a:t>Till 1 december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1" dirty="0"/>
                        <a:t>Till 1 februari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1" dirty="0"/>
                        <a:t>Till 1 maj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3353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200" b="1" dirty="0"/>
                        <a:t>Skot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668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200" b="1" dirty="0"/>
                        <a:t>Finter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4949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200" b="1" dirty="0"/>
                        <a:t>Passningar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78347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200" b="1" dirty="0"/>
                        <a:t>Mottagningar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81587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200" b="1" dirty="0"/>
                        <a:t>Genombrot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4041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200" b="1" dirty="0"/>
                        <a:t>Försvarsspel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532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200" b="1" dirty="0"/>
                        <a:t>Fysik/kondition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26592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200" b="1" dirty="0"/>
                        <a:t>Snabbhe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431275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B012242-11EA-B074-9DD8-41A16CDE8BDD}"/>
              </a:ext>
            </a:extLst>
          </p:cNvPr>
          <p:cNvSpPr txBox="1"/>
          <p:nvPr/>
        </p:nvSpPr>
        <p:spPr>
          <a:xfrm>
            <a:off x="6972665" y="1682266"/>
            <a:ext cx="3135329" cy="33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re områden jag vill utveckla:</a:t>
            </a:r>
          </a:p>
        </p:txBody>
      </p:sp>
    </p:spTree>
    <p:extLst>
      <p:ext uri="{BB962C8B-B14F-4D97-AF65-F5344CB8AC3E}">
        <p14:creationId xmlns:p14="http://schemas.microsoft.com/office/powerpoint/2010/main" val="3946626085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4583628-C0DE-A173-5105-D5CC2CA6A9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583628-C0DE-A173-5105-D5CC2CA6A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BF14533-101A-5E61-710D-19CDBBB06E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4082" y="1930666"/>
            <a:ext cx="5025648" cy="28466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127C74-C4C2-19DB-5F97-895B86865E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1888" y="1930666"/>
            <a:ext cx="4553590" cy="297780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E8F04D5F-2898-B492-8CB9-B4D8FC8BB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442" y="132250"/>
            <a:ext cx="7399338" cy="577973"/>
          </a:xfrm>
        </p:spPr>
        <p:txBody>
          <a:bodyPr vert="horz"/>
          <a:lstStyle/>
          <a:p>
            <a:r>
              <a:rPr lang="en-GB" dirty="0"/>
              <a:t>3. </a:t>
            </a:r>
            <a:r>
              <a:rPr lang="en-GB" dirty="0" err="1"/>
              <a:t>Seriespel</a:t>
            </a:r>
            <a:r>
              <a:rPr lang="en-GB" dirty="0"/>
              <a:t> 25/26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7785E5-C950-1415-2B42-F97EBEF517A6}"/>
              </a:ext>
            </a:extLst>
          </p:cNvPr>
          <p:cNvSpPr/>
          <p:nvPr/>
        </p:nvSpPr>
        <p:spPr>
          <a:xfrm>
            <a:off x="11139770" y="74211"/>
            <a:ext cx="930303" cy="4850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nerbol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-12 april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32FB9C2-C2D9-F522-B4A4-54620FCA6BD6}"/>
              </a:ext>
            </a:extLst>
          </p:cNvPr>
          <p:cNvSpPr txBox="1"/>
          <p:nvPr/>
        </p:nvSpPr>
        <p:spPr>
          <a:xfrm>
            <a:off x="877077" y="5088009"/>
            <a:ext cx="4049486" cy="3370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ingelmatcher (EMP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521AEC9-C738-17A9-6883-1051D3AB4D6E}"/>
              </a:ext>
            </a:extLst>
          </p:cNvPr>
          <p:cNvSpPr txBox="1"/>
          <p:nvPr/>
        </p:nvSpPr>
        <p:spPr>
          <a:xfrm>
            <a:off x="6534288" y="4908473"/>
            <a:ext cx="4049486" cy="6960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ammandrag, kan bli tre EMP-matcher per tillfälle vid hemmamatch</a:t>
            </a:r>
          </a:p>
        </p:txBody>
      </p:sp>
    </p:spTree>
    <p:extLst>
      <p:ext uri="{BB962C8B-B14F-4D97-AF65-F5344CB8AC3E}">
        <p14:creationId xmlns:p14="http://schemas.microsoft.com/office/powerpoint/2010/main" val="1393873419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ruta 3">
            <a:extLst>
              <a:ext uri="{FF2B5EF4-FFF2-40B4-BE49-F238E27FC236}">
                <a16:creationId xmlns:a16="http://schemas.microsoft.com/office/drawing/2014/main" id="{1229CCB3-FC18-4E25-A601-CCB07B0337CA}"/>
              </a:ext>
            </a:extLst>
          </p:cNvPr>
          <p:cNvSpPr txBox="1"/>
          <p:nvPr/>
        </p:nvSpPr>
        <p:spPr>
          <a:xfrm>
            <a:off x="2448735" y="2167533"/>
            <a:ext cx="676473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formationsmöt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F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ör U12-ledare</a:t>
            </a:r>
          </a:p>
        </p:txBody>
      </p:sp>
    </p:spTree>
    <p:extLst>
      <p:ext uri="{BB962C8B-B14F-4D97-AF65-F5344CB8AC3E}">
        <p14:creationId xmlns:p14="http://schemas.microsoft.com/office/powerpoint/2010/main" val="2875695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>
            <a:extLst>
              <a:ext uri="{FF2B5EF4-FFF2-40B4-BE49-F238E27FC236}">
                <a16:creationId xmlns:a16="http://schemas.microsoft.com/office/drawing/2014/main" id="{2376E541-F8D4-4EAA-BCDC-E052C5B0E4E3}"/>
              </a:ext>
            </a:extLst>
          </p:cNvPr>
          <p:cNvSpPr txBox="1"/>
          <p:nvPr/>
        </p:nvSpPr>
        <p:spPr>
          <a:xfrm>
            <a:off x="3489633" y="646952"/>
            <a:ext cx="620073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ävlingsverksamhet U12</a:t>
            </a:r>
            <a:br>
              <a:rPr kumimoji="0" lang="sv-SE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sv-SE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äsongen 2025-2026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C339B74E-245A-4C0A-9DFB-FF10DE7808BD}"/>
              </a:ext>
            </a:extLst>
          </p:cNvPr>
          <p:cNvSpPr txBox="1"/>
          <p:nvPr/>
        </p:nvSpPr>
        <p:spPr>
          <a:xfrm>
            <a:off x="2438151" y="2231041"/>
            <a:ext cx="7252218" cy="4485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Calibri" panose="020F0502020204030204" pitchFamily="34" charset="0"/>
                <a:cs typeface="Calibri" panose="020F0502020204030204" pitchFamily="34" charset="0"/>
              </a:rPr>
              <a:t>Sammandragsserie eller rak serie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Calibri" panose="020F0502020204030204" pitchFamily="34" charset="0"/>
                <a:cs typeface="Calibri" panose="020F0502020204030204" pitchFamily="34" charset="0"/>
              </a:rPr>
              <a:t>		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7A830057-562D-469F-9CEF-6CF31809E9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9197" y="267717"/>
            <a:ext cx="2189062" cy="1116422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A8B37F2A-7C34-39E4-79E2-3B2AE972485D}"/>
              </a:ext>
            </a:extLst>
          </p:cNvPr>
          <p:cNvSpPr txBox="1"/>
          <p:nvPr/>
        </p:nvSpPr>
        <p:spPr>
          <a:xfrm>
            <a:off x="2438151" y="4166066"/>
            <a:ext cx="7252218" cy="773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Calibri" panose="020F0502020204030204" pitchFamily="34" charset="0"/>
                <a:cs typeface="Calibri" panose="020F0502020204030204" pitchFamily="34" charset="0"/>
              </a:rPr>
              <a:t>Spelas med elektroniskt matchprotokoll (EMP)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Calibri" panose="020F0502020204030204" pitchFamily="34" charset="0"/>
                <a:cs typeface="Calibri" panose="020F0502020204030204" pitchFamily="34" charset="0"/>
              </a:rPr>
              <a:t>			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DF5F1852-406C-37AA-C655-2054F19358C4}"/>
              </a:ext>
            </a:extLst>
          </p:cNvPr>
          <p:cNvSpPr txBox="1"/>
          <p:nvPr/>
        </p:nvSpPr>
        <p:spPr>
          <a:xfrm>
            <a:off x="2438151" y="2861594"/>
            <a:ext cx="7252218" cy="4485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Calibri" panose="020F0502020204030204" pitchFamily="34" charset="0"/>
                <a:cs typeface="Calibri" panose="020F0502020204030204" pitchFamily="34" charset="0"/>
              </a:rPr>
              <a:t>Med resultatrapportering och tabell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Calibri" panose="020F0502020204030204" pitchFamily="34" charset="0"/>
                <a:cs typeface="Calibri" panose="020F0502020204030204" pitchFamily="34" charset="0"/>
              </a:rPr>
              <a:t>	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4BCFB74B-1348-B9C6-0FDD-87C9FC3707AC}"/>
              </a:ext>
            </a:extLst>
          </p:cNvPr>
          <p:cNvSpPr txBox="1"/>
          <p:nvPr/>
        </p:nvSpPr>
        <p:spPr>
          <a:xfrm>
            <a:off x="2438151" y="3552375"/>
            <a:ext cx="7252218" cy="4485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Calibri" panose="020F0502020204030204" pitchFamily="34" charset="0"/>
                <a:cs typeface="Calibri" panose="020F0502020204030204" pitchFamily="34" charset="0"/>
              </a:rPr>
              <a:t>Nivåindelat nivå 1-3</a:t>
            </a:r>
          </a:p>
        </p:txBody>
      </p:sp>
    </p:spTree>
    <p:extLst>
      <p:ext uri="{BB962C8B-B14F-4D97-AF65-F5344CB8AC3E}">
        <p14:creationId xmlns:p14="http://schemas.microsoft.com/office/powerpoint/2010/main" val="2034867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1">
            <a:extLst>
              <a:ext uri="{FF2B5EF4-FFF2-40B4-BE49-F238E27FC236}">
                <a16:creationId xmlns:a16="http://schemas.microsoft.com/office/drawing/2014/main" id="{182BA017-3C21-492A-A539-5FD83935A505}"/>
              </a:ext>
            </a:extLst>
          </p:cNvPr>
          <p:cNvSpPr txBox="1"/>
          <p:nvPr/>
        </p:nvSpPr>
        <p:spPr>
          <a:xfrm>
            <a:off x="3452689" y="671829"/>
            <a:ext cx="642996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tt tänka på när vi spelar </a:t>
            </a:r>
            <a:br>
              <a:rPr kumimoji="0" lang="sv-SE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sv-SE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ed resultat 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5C64D542-63DE-4219-A04F-BECCECEDE5A9}"/>
              </a:ext>
            </a:extLst>
          </p:cNvPr>
          <p:cNvSpPr txBox="1"/>
          <p:nvPr/>
        </p:nvSpPr>
        <p:spPr>
          <a:xfrm>
            <a:off x="1609871" y="2378488"/>
            <a:ext cx="1011560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tt spela matcher är fortfarande en del av vår utbildning av spelare. </a:t>
            </a:r>
            <a:b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D9F837C4-7B3F-705E-7463-837CF88242CE}"/>
              </a:ext>
            </a:extLst>
          </p:cNvPr>
          <p:cNvSpPr txBox="1"/>
          <p:nvPr/>
        </p:nvSpPr>
        <p:spPr>
          <a:xfrm>
            <a:off x="1609871" y="2717042"/>
            <a:ext cx="101822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i spelar för att få utöva det vi tränar på i matchsituation. Fokus ska vara på fina</a:t>
            </a:r>
            <a:b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restationer – inte resultat.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16EE9814-0918-E6CA-B2B7-2A912CCC38A3}"/>
              </a:ext>
            </a:extLst>
          </p:cNvPr>
          <p:cNvSpPr txBox="1"/>
          <p:nvPr/>
        </p:nvSpPr>
        <p:spPr>
          <a:xfrm>
            <a:off x="1609871" y="4610769"/>
            <a:ext cx="101822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tt bemöta både domare och motståndare på ett respektfullt och positivt sätt är av största vikt. Domarna är oftast unga och oerfarna i dessa åldrar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95543DB8-C15C-510A-D5CA-B26C875C5C54}"/>
              </a:ext>
            </a:extLst>
          </p:cNvPr>
          <p:cNvSpPr txBox="1"/>
          <p:nvPr/>
        </p:nvSpPr>
        <p:spPr>
          <a:xfrm>
            <a:off x="1609871" y="3802405"/>
            <a:ext cx="81913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Givetvis vill vi vinna matcher men inte till vilket pris som helst. Att spela jämna utvecklande matcher är vad vi strävar efter.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43E644BF-F117-1656-BEAD-29548DE7391D}"/>
              </a:ext>
            </a:extLst>
          </p:cNvPr>
          <p:cNvSpPr txBox="1"/>
          <p:nvPr/>
        </p:nvSpPr>
        <p:spPr>
          <a:xfrm>
            <a:off x="1609871" y="5534099"/>
            <a:ext cx="83463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änk till film från RF:s satsning ”Det ska vara kul att tävla”:</a:t>
            </a:r>
            <a:b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https://youtu.be/W3vLDcyQJqg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6270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1">
            <a:extLst>
              <a:ext uri="{FF2B5EF4-FFF2-40B4-BE49-F238E27FC236}">
                <a16:creationId xmlns:a16="http://schemas.microsoft.com/office/drawing/2014/main" id="{69C6D58B-A325-4641-B429-FE45074D5675}"/>
              </a:ext>
            </a:extLst>
          </p:cNvPr>
          <p:cNvSpPr txBox="1"/>
          <p:nvPr/>
        </p:nvSpPr>
        <p:spPr>
          <a:xfrm>
            <a:off x="2826376" y="804959"/>
            <a:ext cx="813395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ägledning nivåindelat seriespel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27E08171-B71B-4728-9962-1E6A63F42D7A}"/>
              </a:ext>
            </a:extLst>
          </p:cNvPr>
          <p:cNvSpPr txBox="1"/>
          <p:nvPr/>
        </p:nvSpPr>
        <p:spPr>
          <a:xfrm>
            <a:off x="1141326" y="2301010"/>
            <a:ext cx="4779413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yftet med nivåindel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Utveckla spelare på sin nivå – </a:t>
            </a:r>
            <a:b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te toppa lag och vinna matcher!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pela så jämna matcher som möjlig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Roligare att träna/spela handbo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" name="Picture 6" descr="6e0d8ad981a697fe9667460178e5d81e">
            <a:extLst>
              <a:ext uri="{FF2B5EF4-FFF2-40B4-BE49-F238E27FC236}">
                <a16:creationId xmlns:a16="http://schemas.microsoft.com/office/drawing/2014/main" id="{EC27F87B-E341-4310-BEFC-49B263E187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46528" y="2116070"/>
            <a:ext cx="4513805" cy="2893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740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NG_DEF" val="2057"/>
  <p:tag name="LANG_NAME" val="English UK"/>
  <p:tag name="MASTCOUNT" val="1"/>
  <p:tag name="DES1LAYOUTCOUNT" val="60"/>
  <p:tag name="LINGO_COUNT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SKF Template">
  <a:themeElements>
    <a:clrScheme name="SKF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E"/>
      </a:accent1>
      <a:accent2>
        <a:srgbClr val="999999"/>
      </a:accent2>
      <a:accent3>
        <a:srgbClr val="02115C"/>
      </a:accent3>
      <a:accent4>
        <a:srgbClr val="9570EB"/>
      </a:accent4>
      <a:accent5>
        <a:srgbClr val="F86516"/>
      </a:accent5>
      <a:accent6>
        <a:srgbClr val="FFD601"/>
      </a:accent6>
      <a:hlink>
        <a:srgbClr val="0000FE"/>
      </a:hlink>
      <a:folHlink>
        <a:srgbClr val="0000FE"/>
      </a:folHlink>
    </a:clrScheme>
    <a:fontScheme name="SKF Sans Typeface">
      <a:majorFont>
        <a:latin typeface="SKF Sans Office Medium"/>
        <a:ea typeface=""/>
        <a:cs typeface=""/>
      </a:majorFont>
      <a:minorFont>
        <a:latin typeface="SKF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0" tIns="0" rIns="0" bIns="0" rtlCol="0" anchor="ctr"/>
      <a:lstStyle>
        <a:defPPr algn="ctr">
          <a:lnSpc>
            <a:spcPct val="107000"/>
          </a:lnSpc>
          <a:spcBef>
            <a:spcPts val="1200"/>
          </a:spcBef>
          <a:defRPr sz="1600" spc="-20"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7000"/>
          </a:lnSpc>
          <a:spcBef>
            <a:spcPts val="1200"/>
          </a:spcBef>
          <a:defRPr sz="1600" spc="-20" dirty="0" smtClean="0"/>
        </a:defPPr>
      </a:lstStyle>
    </a:txDef>
  </a:objectDefaults>
  <a:extraClrSchemeLst/>
  <a:custClrLst>
    <a:custClr name="SKF Blue">
      <a:srgbClr val="0000FE"/>
    </a:custClr>
    <a:custClr name="Dark Blue">
      <a:srgbClr val="02115C"/>
    </a:custClr>
    <a:custClr name="Black">
      <a:srgbClr val="000000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80% Black">
      <a:srgbClr val="333333"/>
    </a:custClr>
    <a:custClr name="70% Black">
      <a:srgbClr val="4C4C4C"/>
    </a:custClr>
    <a:custClr name="60% Black">
      <a:srgbClr val="666666"/>
    </a:custClr>
    <a:custClr name="50% Black">
      <a:srgbClr val="7F7F7F"/>
    </a:custClr>
    <a:custClr name="42% Black">
      <a:srgbClr val="949494"/>
    </a:custClr>
    <a:custClr name="30% Black">
      <a:srgbClr val="B2B2B2"/>
    </a:custClr>
    <a:custClr name="20% Black">
      <a:srgbClr val="CCCCCC"/>
    </a:custClr>
    <a:custClr name="10% Black">
      <a:srgbClr val="E5E5E5"/>
    </a:custClr>
    <a:custClr name="7% Black">
      <a:srgbClr val="EDEDED"/>
    </a:custClr>
    <a:custClr name="4% Black">
      <a:srgbClr val="F5F5F5"/>
    </a:custClr>
    <a:custClr name="Orange">
      <a:srgbClr val="F86516"/>
    </a:custClr>
    <a:custClr name="Yellow">
      <a:srgbClr val="FFD601"/>
    </a:custClr>
    <a:custClr name="Pink">
      <a:srgbClr val="F857AF"/>
    </a:custClr>
    <a:custClr name="Green">
      <a:srgbClr val="009E2D"/>
    </a:custClr>
    <a:custClr name="Purple">
      <a:srgbClr val="9570EB"/>
    </a:custClr>
    <a:custClr name="Red">
      <a:srgbClr val="F93434"/>
    </a:custClr>
    <a:custClr name="Turquoise">
      <a:srgbClr val="3C99AE"/>
    </a:custClr>
    <a:custClr name="BLANK">
      <a:srgbClr val="FFFFFF"/>
    </a:custClr>
    <a:custClr name="BLANK">
      <a:srgbClr val="FFFFFF"/>
    </a:custClr>
    <a:custClr name="BLANK">
      <a:srgbClr val="FFFFFF"/>
    </a:custClr>
    <a:custClr name="Dark Orange">
      <a:srgbClr val="9C3600"/>
    </a:custClr>
    <a:custClr name="Dark Yellow">
      <a:srgbClr val="7A6C00"/>
    </a:custClr>
    <a:custClr name="Dark Pink">
      <a:srgbClr val="98105A"/>
    </a:custClr>
    <a:custClr name="Dark Green">
      <a:srgbClr val="00611B"/>
    </a:custClr>
    <a:custClr name="Dark Purple">
      <a:srgbClr val="4C0E9B"/>
    </a:custClr>
    <a:custClr name="Dark Red">
      <a:srgbClr val="930606"/>
    </a:custClr>
    <a:custClr name="Dark Turquoise">
      <a:srgbClr val="276770"/>
    </a:custClr>
    <a:custClr name="BLANK">
      <a:srgbClr val="FFFFFF"/>
    </a:custClr>
    <a:custClr name="BLANK">
      <a:srgbClr val="FFFFFF"/>
    </a:custClr>
    <a:custClr name="BLANK">
      <a:srgbClr val="FFFFFF"/>
    </a:custClr>
    <a:custClr name="25% Orange Tint">
      <a:srgbClr val="FDD8C5"/>
    </a:custClr>
    <a:custClr name="25% Yellow Tint">
      <a:srgbClr val="FDF6BF"/>
    </a:custClr>
    <a:custClr name="25% Pink Tint">
      <a:srgbClr val="FDD5E9"/>
    </a:custClr>
    <a:custClr name="25% Green Tint">
      <a:srgbClr val="BFE7CA"/>
    </a:custClr>
    <a:custClr name="25% Purple Tint">
      <a:srgbClr val="E8D6FF"/>
    </a:custClr>
    <a:custClr name="25% Red Tint">
      <a:srgbClr val="FDCCCC"/>
    </a:custClr>
    <a:custClr name="25% Turquiose Tint">
      <a:srgbClr val="D9F2F0"/>
    </a:custClr>
    <a:custClr name="25% Blue Tint">
      <a:srgbClr val="CCDCFF"/>
    </a:custClr>
  </a:custClrLst>
  <a:extLst>
    <a:ext uri="{05A4C25C-085E-4340-85A3-A5531E510DB2}">
      <thm15:themeFamily xmlns:thm15="http://schemas.microsoft.com/office/thememl/2012/main" name="F_SKF_Template" id="{8DFABC6B-F1B6-439B-BC21-7B99A86DE1EB}" vid="{07AF309A-602C-41C5-BBEF-3BAE6B7A288E}"/>
    </a:ext>
  </a:extLst>
</a:theme>
</file>

<file path=ppt/theme/theme2.xml><?xml version="1.0" encoding="utf-8"?>
<a:theme xmlns:a="http://schemas.openxmlformats.org/drawingml/2006/main" name="SKF 2020">
  <a:themeElements>
    <a:clrScheme name="SKF 2020">
      <a:dk1>
        <a:sysClr val="windowText" lastClr="000000"/>
      </a:dk1>
      <a:lt1>
        <a:sysClr val="window" lastClr="FFFFFF"/>
      </a:lt1>
      <a:dk2>
        <a:srgbClr val="5F5F64"/>
      </a:dk2>
      <a:lt2>
        <a:srgbClr val="EBF0F0"/>
      </a:lt2>
      <a:accent1>
        <a:srgbClr val="264357"/>
      </a:accent1>
      <a:accent2>
        <a:srgbClr val="94ABA6"/>
      </a:accent2>
      <a:accent3>
        <a:srgbClr val="485A64"/>
      </a:accent3>
      <a:accent4>
        <a:srgbClr val="B2A799"/>
      </a:accent4>
      <a:accent5>
        <a:srgbClr val="0F58D6"/>
      </a:accent5>
      <a:accent6>
        <a:srgbClr val="46962B"/>
      </a:accent6>
      <a:hlink>
        <a:srgbClr val="0F58D6"/>
      </a:hlink>
      <a:folHlink>
        <a:srgbClr val="781E93"/>
      </a:folHlink>
    </a:clrScheme>
    <a:fontScheme name="SKF Calibri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800"/>
          </a:lnSpc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KF PPT 2020.potx" id="{A44EF65F-37CF-4CB5-8426-D73A0B38DDF4}" vid="{D8D5E66A-D129-4503-A63B-E120812E1122}"/>
    </a:ext>
  </a:extLst>
</a:theme>
</file>

<file path=ppt/theme/theme3.xml><?xml version="1.0" encoding="utf-8"?>
<a:theme xmlns:a="http://schemas.openxmlformats.org/drawingml/2006/main" name="Office Theme">
  <a:themeElements>
    <a:clrScheme name="SKF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E"/>
      </a:accent1>
      <a:accent2>
        <a:srgbClr val="999999"/>
      </a:accent2>
      <a:accent3>
        <a:srgbClr val="02115C"/>
      </a:accent3>
      <a:accent4>
        <a:srgbClr val="9570EB"/>
      </a:accent4>
      <a:accent5>
        <a:srgbClr val="F86516"/>
      </a:accent5>
      <a:accent6>
        <a:srgbClr val="FFD601"/>
      </a:accent6>
      <a:hlink>
        <a:srgbClr val="467886"/>
      </a:hlink>
      <a:folHlink>
        <a:srgbClr val="96607D"/>
      </a:folHlink>
    </a:clrScheme>
    <a:fontScheme name="SKF Sans Typeface">
      <a:majorFont>
        <a:latin typeface="SKF Sans Office Medium"/>
        <a:ea typeface=""/>
        <a:cs typeface=""/>
      </a:majorFont>
      <a:minorFont>
        <a:latin typeface="SKF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SKF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E"/>
      </a:accent1>
      <a:accent2>
        <a:srgbClr val="999999"/>
      </a:accent2>
      <a:accent3>
        <a:srgbClr val="02115C"/>
      </a:accent3>
      <a:accent4>
        <a:srgbClr val="9570EB"/>
      </a:accent4>
      <a:accent5>
        <a:srgbClr val="F86516"/>
      </a:accent5>
      <a:accent6>
        <a:srgbClr val="FFD601"/>
      </a:accent6>
      <a:hlink>
        <a:srgbClr val="0000FE"/>
      </a:hlink>
      <a:folHlink>
        <a:srgbClr val="0000FE"/>
      </a:folHlink>
    </a:clrScheme>
    <a:fontScheme name="SKF Sans Typeface">
      <a:majorFont>
        <a:latin typeface="SKF Sans Office Medium"/>
        <a:ea typeface=""/>
        <a:cs typeface=""/>
      </a:majorFont>
      <a:minorFont>
        <a:latin typeface="SKF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46CD667E4335448EA6A36CBD3C9AAF" ma:contentTypeVersion="17" ma:contentTypeDescription="Create a new document." ma:contentTypeScope="" ma:versionID="2c88f31b4781b2776a8c7376bb172f59">
  <xsd:schema xmlns:xsd="http://www.w3.org/2001/XMLSchema" xmlns:xs="http://www.w3.org/2001/XMLSchema" xmlns:p="http://schemas.microsoft.com/office/2006/metadata/properties" xmlns:ns1="http://schemas.microsoft.com/sharepoint/v3" xmlns:ns2="27d747df-3ae7-4b39-bdf4-d2386b3c474f" xmlns:ns3="dbfdf458-13d0-4d8f-b0d9-aea8cb9822af" targetNamespace="http://schemas.microsoft.com/office/2006/metadata/properties" ma:root="true" ma:fieldsID="eede093df0dc0c9484f6ba8f2d3376c9" ns1:_="" ns2:_="" ns3:_="">
    <xsd:import namespace="http://schemas.microsoft.com/sharepoint/v3"/>
    <xsd:import namespace="27d747df-3ae7-4b39-bdf4-d2386b3c474f"/>
    <xsd:import namespace="dbfdf458-13d0-4d8f-b0d9-aea8cb9822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d747df-3ae7-4b39-bdf4-d2386b3c47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d10430cd-861b-4a84-98ab-de752442a06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fdf458-13d0-4d8f-b0d9-aea8cb9822a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3962bcb-60cd-4eb4-b8cb-674a46fde384}" ma:internalName="TaxCatchAll" ma:showField="CatchAllData" ma:web="dbfdf458-13d0-4d8f-b0d9-aea8cb9822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7d747df-3ae7-4b39-bdf4-d2386b3c474f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  <TaxCatchAll xmlns="dbfdf458-13d0-4d8f-b0d9-aea8cb9822af" xsi:nil="true"/>
  </documentManagement>
</p:properties>
</file>

<file path=customXml/itemProps1.xml><?xml version="1.0" encoding="utf-8"?>
<ds:datastoreItem xmlns:ds="http://schemas.openxmlformats.org/officeDocument/2006/customXml" ds:itemID="{DCFD0C47-3DB1-4F6C-B64B-13C53C9298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B5E923A-6E1E-4F30-8811-17EEB7CD73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7d747df-3ae7-4b39-bdf4-d2386b3c474f"/>
    <ds:schemaRef ds:uri="dbfdf458-13d0-4d8f-b0d9-aea8cb9822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35D98A-4E20-45EB-A93F-5B227E9C2F9F}">
  <ds:schemaRefs>
    <ds:schemaRef ds:uri="http://schemas.microsoft.com/office/2006/metadata/properties"/>
    <ds:schemaRef ds:uri="http://schemas.microsoft.com/office/infopath/2007/PartnerControls"/>
    <ds:schemaRef ds:uri="7ff0a519-25fc-4f8f-8aa2-e28558e40983"/>
    <ds:schemaRef ds:uri="27d747df-3ae7-4b39-bdf4-d2386b3c474f"/>
    <ds:schemaRef ds:uri="http://schemas.microsoft.com/sharepoint/v3"/>
    <ds:schemaRef ds:uri="dbfdf458-13d0-4d8f-b0d9-aea8cb9822af"/>
  </ds:schemaRefs>
</ds:datastoreItem>
</file>

<file path=docMetadata/LabelInfo.xml><?xml version="1.0" encoding="utf-8"?>
<clbl:labelList xmlns:clbl="http://schemas.microsoft.com/office/2020/mipLabelMetadata">
  <clbl:label id="{4ede1376-eff3-448c-a8a5-f3e79c769ae3}" enabled="1" method="Standard" siteId="{41875f2b-33e8-4670-92a8-f643afbb243a}" contentBits="3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57</Words>
  <Application>Microsoft Office PowerPoint</Application>
  <PresentationFormat>Widescreen</PresentationFormat>
  <Paragraphs>159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SKF Sans Office Medium</vt:lpstr>
      <vt:lpstr>Calibri Light</vt:lpstr>
      <vt:lpstr>SKF Sans Office</vt:lpstr>
      <vt:lpstr>Calibri</vt:lpstr>
      <vt:lpstr>Arial</vt:lpstr>
      <vt:lpstr>SKF Template</vt:lpstr>
      <vt:lpstr>SKF 2020</vt:lpstr>
      <vt:lpstr>think-cell Slide</vt:lpstr>
      <vt:lpstr>PowerPoint Presentation</vt:lpstr>
      <vt:lpstr>Säsongsplanering 25/26</vt:lpstr>
      <vt:lpstr>PowerPoint Presentation</vt:lpstr>
      <vt:lpstr>Spelarkort 2025, P2013</vt:lpstr>
      <vt:lpstr>3. Seriespel 25/26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4. Elektroniskt matchprotokoll (EMP)</vt:lpstr>
      <vt:lpstr>5. Spelarkonto status September 2025</vt:lpstr>
      <vt:lpstr>6. Föräldrar 25/26</vt:lpstr>
      <vt:lpstr>7. Lagkassa &amp; ny försäljning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eter R Johansson</dc:creator>
  <cp:lastModifiedBy>Peter R Johansson</cp:lastModifiedBy>
  <cp:revision>1</cp:revision>
  <dcterms:created xsi:type="dcterms:W3CDTF">2025-09-19T19:23:30Z</dcterms:created>
  <dcterms:modified xsi:type="dcterms:W3CDTF">2025-09-19T19:2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46CD667E4335448EA6A36CBD3C9AAF</vt:lpwstr>
  </property>
  <property fmtid="{D5CDD505-2E9C-101B-9397-08002B2CF9AE}" pid="3" name="MediaServiceImageTags">
    <vt:lpwstr/>
  </property>
  <property fmtid="{D5CDD505-2E9C-101B-9397-08002B2CF9AE}" pid="4" name="ClassificationContentMarkingFooterLocations">
    <vt:lpwstr>SKF Template:9\SKF 2020:7</vt:lpwstr>
  </property>
  <property fmtid="{D5CDD505-2E9C-101B-9397-08002B2CF9AE}" pid="5" name="ClassificationContentMarkingFooterText">
    <vt:lpwstr>Confidentiality: C2 – Internal </vt:lpwstr>
  </property>
</Properties>
</file>